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37"/>
  </p:notesMasterIdLst>
  <p:sldIdLst>
    <p:sldId id="336" r:id="rId2"/>
    <p:sldId id="273" r:id="rId3"/>
    <p:sldId id="275" r:id="rId4"/>
    <p:sldId id="276" r:id="rId5"/>
    <p:sldId id="277" r:id="rId6"/>
    <p:sldId id="274" r:id="rId7"/>
    <p:sldId id="279" r:id="rId8"/>
    <p:sldId id="280" r:id="rId9"/>
    <p:sldId id="281" r:id="rId10"/>
    <p:sldId id="282" r:id="rId11"/>
    <p:sldId id="278" r:id="rId12"/>
    <p:sldId id="256" r:id="rId13"/>
    <p:sldId id="299" r:id="rId14"/>
    <p:sldId id="300" r:id="rId15"/>
    <p:sldId id="301" r:id="rId16"/>
    <p:sldId id="302" r:id="rId17"/>
    <p:sldId id="258" r:id="rId18"/>
    <p:sldId id="259" r:id="rId19"/>
    <p:sldId id="320" r:id="rId20"/>
    <p:sldId id="261" r:id="rId21"/>
    <p:sldId id="322" r:id="rId22"/>
    <p:sldId id="262" r:id="rId23"/>
    <p:sldId id="263" r:id="rId24"/>
    <p:sldId id="264" r:id="rId25"/>
    <p:sldId id="265" r:id="rId26"/>
    <p:sldId id="266" r:id="rId27"/>
    <p:sldId id="267" r:id="rId28"/>
    <p:sldId id="268" r:id="rId29"/>
    <p:sldId id="269" r:id="rId30"/>
    <p:sldId id="270" r:id="rId31"/>
    <p:sldId id="271" r:id="rId32"/>
    <p:sldId id="304" r:id="rId33"/>
    <p:sldId id="306" r:id="rId34"/>
    <p:sldId id="308" r:id="rId35"/>
    <p:sldId id="339" r:id="rId3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70" d="100"/>
          <a:sy n="70" d="100"/>
        </p:scale>
        <p:origin x="1386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diagrams/_rels/data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4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3#1">
  <dgm:title val=""/>
  <dgm:desc val=""/>
  <dgm:catLst>
    <dgm:cat type="accent4" pri="11300"/>
  </dgm:catLst>
  <dgm:styleLbl name="align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4">
        <a:shade val="80000"/>
      </a:schemeClr>
      <a:schemeClr val="accent4">
        <a:tint val="7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/>
    <dgm:txEffectClrLst/>
  </dgm:styleLbl>
  <dgm:styleLbl name="asst0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lnNode1">
    <dgm:fillClrLst>
      <a:schemeClr val="accent4">
        <a:shade val="80000"/>
      </a:schemeClr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shade val="80000"/>
      </a:schemeClr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9000"/>
      </a:schemeClr>
    </dgm:fillClrLst>
    <dgm:linClrLst meth="repeat">
      <a:schemeClr val="accent4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80000"/>
      </a:schemeClr>
    </dgm:fillClrLst>
    <dgm:linClrLst meth="repeat">
      <a:schemeClr val="accent4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4">
        <a:shade val="80000"/>
        <a:alpha val="50000"/>
      </a:schemeClr>
      <a:schemeClr val="accent4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4_3#2">
  <dgm:title val=""/>
  <dgm:desc val=""/>
  <dgm:catLst>
    <dgm:cat type="accent4" pri="11300"/>
  </dgm:catLst>
  <dgm:styleLbl name="align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4">
        <a:shade val="80000"/>
      </a:schemeClr>
      <a:schemeClr val="accent4">
        <a:tint val="7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/>
    <dgm:txEffectClrLst/>
  </dgm:styleLbl>
  <dgm:styleLbl name="asst0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lnNode1">
    <dgm:fillClrLst>
      <a:schemeClr val="accent4">
        <a:shade val="80000"/>
      </a:schemeClr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shade val="80000"/>
      </a:schemeClr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9000"/>
      </a:schemeClr>
    </dgm:fillClrLst>
    <dgm:linClrLst meth="repeat">
      <a:schemeClr val="accent4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80000"/>
      </a:schemeClr>
    </dgm:fillClrLst>
    <dgm:linClrLst meth="repeat">
      <a:schemeClr val="accent4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4">
        <a:shade val="80000"/>
        <a:alpha val="50000"/>
      </a:schemeClr>
      <a:schemeClr val="accent4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1#1">
  <dgm:title val=""/>
  <dgm:desc val=""/>
  <dgm:catLst>
    <dgm:cat type="accent1" pri="11100"/>
  </dgm:catLst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#1">
  <dgm:title val=""/>
  <dgm:desc val=""/>
  <dgm:catLst>
    <dgm:cat type="colorful" pri="10500"/>
  </dgm:catLst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3#1">
  <dgm:title val=""/>
  <dgm:desc val=""/>
  <dgm:catLst>
    <dgm:cat type="colorful" pri="10300"/>
  </dgm:catLst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3#2">
  <dgm:title val=""/>
  <dgm:desc val=""/>
  <dgm:catLst>
    <dgm:cat type="colorful" pri="10300"/>
  </dgm:catLst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EFDD57F-1443-4DF8-8C34-FB75EF381E92}" type="doc">
      <dgm:prSet loTypeId="urn:microsoft.com/office/officeart/2005/8/layout/vList5" loCatId="list" qsTypeId="urn:microsoft.com/office/officeart/2005/8/quickstyle/simple1#1" qsCatId="simple" csTypeId="urn:microsoft.com/office/officeart/2005/8/colors/accent4_3#1" csCatId="accent4" phldr="1"/>
      <dgm:spPr/>
      <dgm:t>
        <a:bodyPr/>
        <a:lstStyle/>
        <a:p>
          <a:endParaRPr lang="en-US"/>
        </a:p>
      </dgm:t>
    </dgm:pt>
    <dgm:pt modelId="{F0B8BE8B-E200-4FEA-99DE-9DF02A56A1D8}">
      <dgm:prSet phldrT="[Text]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BPG</a:t>
          </a:r>
          <a:endParaRPr lang="en-US" dirty="0"/>
        </a:p>
      </dgm:t>
    </dgm:pt>
    <dgm:pt modelId="{E531F436-DE1B-4147-A2CD-A839C5DBA928}" type="parTrans" cxnId="{5AFD51DD-D4CB-4247-B5DA-0D761C2CB8E2}">
      <dgm:prSet/>
      <dgm:spPr/>
      <dgm:t>
        <a:bodyPr/>
        <a:lstStyle/>
        <a:p>
          <a:endParaRPr lang="en-US"/>
        </a:p>
      </dgm:t>
    </dgm:pt>
    <dgm:pt modelId="{6FC5ABF5-5674-4BDD-ACCF-54D4F05476B0}" type="sibTrans" cxnId="{5AFD51DD-D4CB-4247-B5DA-0D761C2CB8E2}">
      <dgm:prSet/>
      <dgm:spPr/>
      <dgm:t>
        <a:bodyPr/>
        <a:lstStyle/>
        <a:p>
          <a:endParaRPr lang="en-US"/>
        </a:p>
      </dgm:t>
    </dgm:pt>
    <dgm:pt modelId="{1A7F7B5A-3BD1-452A-85D4-50F48C803934}">
      <dgm:prSet phldrT="[Text]" custT="1"/>
      <dgm:spPr/>
      <dgm:t>
        <a:bodyPr/>
        <a:lstStyle/>
        <a:p>
          <a:r>
            <a:rPr lang="en-US" sz="1800" dirty="0" err="1" smtClean="0"/>
            <a:t>Peruntukan</a:t>
          </a:r>
          <a:r>
            <a:rPr lang="en-US" sz="1800" dirty="0" smtClean="0"/>
            <a:t> </a:t>
          </a:r>
          <a:r>
            <a:rPr lang="en-US" sz="1800" dirty="0" err="1" smtClean="0"/>
            <a:t>kewangan</a:t>
          </a:r>
          <a:endParaRPr lang="en-US" sz="1800" dirty="0"/>
        </a:p>
      </dgm:t>
    </dgm:pt>
    <dgm:pt modelId="{2BC5D129-8A00-4D65-B3CC-EBECCFB28AFA}" type="parTrans" cxnId="{B09B1FAE-0002-4A2A-9558-FD35BE8AB6CD}">
      <dgm:prSet/>
      <dgm:spPr/>
      <dgm:t>
        <a:bodyPr/>
        <a:lstStyle/>
        <a:p>
          <a:endParaRPr lang="en-US"/>
        </a:p>
      </dgm:t>
    </dgm:pt>
    <dgm:pt modelId="{F44BE07A-6CD9-448B-A502-AB9B0D9676C3}" type="sibTrans" cxnId="{B09B1FAE-0002-4A2A-9558-FD35BE8AB6CD}">
      <dgm:prSet/>
      <dgm:spPr/>
      <dgm:t>
        <a:bodyPr/>
        <a:lstStyle/>
        <a:p>
          <a:endParaRPr lang="en-US"/>
        </a:p>
      </dgm:t>
    </dgm:pt>
    <dgm:pt modelId="{C07D24A1-575E-42E0-A1EC-34B96149FA8E}">
      <dgm:prSet phldrT="[Text]" custT="1"/>
      <dgm:spPr/>
      <dgm:t>
        <a:bodyPr/>
        <a:lstStyle/>
        <a:p>
          <a:r>
            <a:rPr lang="en-US" sz="1800" dirty="0" err="1" smtClean="0"/>
            <a:t>Pemantapan</a:t>
          </a:r>
          <a:r>
            <a:rPr lang="en-US" sz="1800" dirty="0" smtClean="0"/>
            <a:t> </a:t>
          </a:r>
          <a:r>
            <a:rPr lang="en-US" sz="1800" dirty="0" err="1" smtClean="0"/>
            <a:t>kemahiran</a:t>
          </a:r>
          <a:r>
            <a:rPr lang="en-US" sz="1800" dirty="0" smtClean="0"/>
            <a:t> </a:t>
          </a:r>
          <a:r>
            <a:rPr lang="en-US" sz="1800" dirty="0" err="1" smtClean="0"/>
            <a:t>Jurulatih</a:t>
          </a:r>
          <a:r>
            <a:rPr lang="en-US" sz="1800" dirty="0" smtClean="0"/>
            <a:t> </a:t>
          </a:r>
          <a:r>
            <a:rPr lang="en-US" sz="1800" dirty="0" err="1" smtClean="0"/>
            <a:t>dan</a:t>
          </a:r>
          <a:r>
            <a:rPr lang="en-US" sz="1800" dirty="0" smtClean="0"/>
            <a:t> </a:t>
          </a:r>
          <a:r>
            <a:rPr lang="en-US" sz="1800" dirty="0" err="1" smtClean="0"/>
            <a:t>pakar</a:t>
          </a:r>
          <a:r>
            <a:rPr lang="en-US" sz="1800" dirty="0" smtClean="0"/>
            <a:t> </a:t>
          </a:r>
          <a:r>
            <a:rPr lang="en-US" sz="1800" dirty="0" err="1" smtClean="0"/>
            <a:t>rujuk</a:t>
          </a:r>
          <a:endParaRPr lang="en-US" sz="1800" dirty="0"/>
        </a:p>
      </dgm:t>
    </dgm:pt>
    <dgm:pt modelId="{63BA7FFC-9AEF-4711-A46F-8BF327AAD8D7}" type="parTrans" cxnId="{741BD090-8329-4478-8EC9-A62A982C8AF2}">
      <dgm:prSet/>
      <dgm:spPr/>
      <dgm:t>
        <a:bodyPr/>
        <a:lstStyle/>
        <a:p>
          <a:endParaRPr lang="en-US"/>
        </a:p>
      </dgm:t>
    </dgm:pt>
    <dgm:pt modelId="{98CA2ED2-CAFE-434C-BD6E-2EBE0FE65C43}" type="sibTrans" cxnId="{741BD090-8329-4478-8EC9-A62A982C8AF2}">
      <dgm:prSet/>
      <dgm:spPr/>
      <dgm:t>
        <a:bodyPr/>
        <a:lstStyle/>
        <a:p>
          <a:endParaRPr lang="en-US"/>
        </a:p>
      </dgm:t>
    </dgm:pt>
    <dgm:pt modelId="{C2969FEC-F1E6-43F5-B999-BCD8CEAB948E}">
      <dgm:prSet phldrT="[Text]">
        <dgm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err="1" smtClean="0"/>
            <a:t>Jawatan</a:t>
          </a:r>
          <a:r>
            <a:rPr lang="en-US" dirty="0" smtClean="0"/>
            <a:t> </a:t>
          </a:r>
          <a:r>
            <a:rPr lang="en-US" dirty="0" err="1" smtClean="0"/>
            <a:t>Kuasa</a:t>
          </a:r>
          <a:r>
            <a:rPr lang="en-US" dirty="0" smtClean="0"/>
            <a:t> </a:t>
          </a:r>
          <a:r>
            <a:rPr lang="en-US" dirty="0" err="1" smtClean="0"/>
            <a:t>Kerja</a:t>
          </a:r>
          <a:r>
            <a:rPr lang="en-US" dirty="0" smtClean="0"/>
            <a:t>/ </a:t>
          </a:r>
          <a:r>
            <a:rPr lang="en-US" i="1" dirty="0" smtClean="0"/>
            <a:t>Master Trainer</a:t>
          </a:r>
          <a:endParaRPr lang="en-US" i="1" dirty="0"/>
        </a:p>
      </dgm:t>
    </dgm:pt>
    <dgm:pt modelId="{42251BD9-BA70-42D2-B40C-55F96F39D91A}" type="parTrans" cxnId="{E3D7CB75-344E-4BFE-B530-1BD5956D046E}">
      <dgm:prSet/>
      <dgm:spPr/>
      <dgm:t>
        <a:bodyPr/>
        <a:lstStyle/>
        <a:p>
          <a:endParaRPr lang="en-US"/>
        </a:p>
      </dgm:t>
    </dgm:pt>
    <dgm:pt modelId="{50FDA752-5A0C-40C0-AB44-7893FCB2A546}" type="sibTrans" cxnId="{E3D7CB75-344E-4BFE-B530-1BD5956D046E}">
      <dgm:prSet/>
      <dgm:spPr/>
      <dgm:t>
        <a:bodyPr/>
        <a:lstStyle/>
        <a:p>
          <a:endParaRPr lang="en-US"/>
        </a:p>
      </dgm:t>
    </dgm:pt>
    <dgm:pt modelId="{6B44FD91-CC0E-4D31-979A-D8293DBD4E31}">
      <dgm:prSet phldrT="[Text]" custT="1"/>
      <dgm:spPr/>
      <dgm:t>
        <a:bodyPr/>
        <a:lstStyle/>
        <a:p>
          <a:r>
            <a:rPr lang="en-US" sz="1600" dirty="0" err="1" smtClean="0"/>
            <a:t>Kursus</a:t>
          </a:r>
          <a:r>
            <a:rPr lang="en-US" sz="1600" dirty="0" smtClean="0"/>
            <a:t>  </a:t>
          </a:r>
          <a:r>
            <a:rPr lang="en-US" sz="1600" dirty="0" err="1" smtClean="0"/>
            <a:t>kepada</a:t>
          </a:r>
          <a:r>
            <a:rPr lang="en-US" sz="1600" dirty="0" smtClean="0"/>
            <a:t> </a:t>
          </a:r>
          <a:r>
            <a:rPr lang="en-US" sz="1600" dirty="0" err="1" smtClean="0"/>
            <a:t>pegawai</a:t>
          </a:r>
          <a:r>
            <a:rPr lang="en-US" sz="1600" dirty="0" smtClean="0"/>
            <a:t> JPN / PPD /SISC+/ GPK </a:t>
          </a:r>
          <a:r>
            <a:rPr lang="en-US" sz="1600" dirty="0" err="1" smtClean="0"/>
            <a:t>Kurikulum</a:t>
          </a:r>
          <a:r>
            <a:rPr lang="en-US" sz="1600" dirty="0" smtClean="0"/>
            <a:t>/ </a:t>
          </a:r>
          <a:r>
            <a:rPr lang="en-US" sz="1600" dirty="0" err="1" smtClean="0"/>
            <a:t>Ketua</a:t>
          </a:r>
          <a:r>
            <a:rPr lang="en-US" sz="1600" dirty="0" smtClean="0"/>
            <a:t> </a:t>
          </a:r>
          <a:r>
            <a:rPr lang="en-US" sz="1600" dirty="0" err="1" smtClean="0"/>
            <a:t>Bidang</a:t>
          </a:r>
          <a:r>
            <a:rPr lang="en-US" sz="1600" dirty="0" smtClean="0"/>
            <a:t>/ </a:t>
          </a:r>
          <a:r>
            <a:rPr lang="en-US" sz="1600" dirty="0" err="1" smtClean="0"/>
            <a:t>Ketua</a:t>
          </a:r>
          <a:r>
            <a:rPr lang="en-US" sz="1600" dirty="0" smtClean="0"/>
            <a:t> </a:t>
          </a:r>
          <a:r>
            <a:rPr lang="en-US" sz="1600" dirty="0" err="1" smtClean="0"/>
            <a:t>Panitia</a:t>
          </a:r>
          <a:r>
            <a:rPr lang="en-US" sz="1600" dirty="0" smtClean="0"/>
            <a:t>.</a:t>
          </a:r>
          <a:endParaRPr lang="en-US" sz="1600" dirty="0"/>
        </a:p>
      </dgm:t>
    </dgm:pt>
    <dgm:pt modelId="{841B3E0C-2432-4A3A-A8A3-6C1913938744}" type="parTrans" cxnId="{3452F2DA-CFE8-4E8C-AB58-38345FC888B3}">
      <dgm:prSet/>
      <dgm:spPr/>
      <dgm:t>
        <a:bodyPr/>
        <a:lstStyle/>
        <a:p>
          <a:endParaRPr lang="en-US"/>
        </a:p>
      </dgm:t>
    </dgm:pt>
    <dgm:pt modelId="{5131CA20-45C7-4121-849B-FA6224F000A5}" type="sibTrans" cxnId="{3452F2DA-CFE8-4E8C-AB58-38345FC888B3}">
      <dgm:prSet/>
      <dgm:spPr/>
      <dgm:t>
        <a:bodyPr/>
        <a:lstStyle/>
        <a:p>
          <a:endParaRPr lang="en-US"/>
        </a:p>
      </dgm:t>
    </dgm:pt>
    <dgm:pt modelId="{0B8DBD40-387F-4610-BB72-B1CB075C3D1B}">
      <dgm:prSet phldrT="[Text]" custT="1"/>
      <dgm:spPr/>
      <dgm:t>
        <a:bodyPr/>
        <a:lstStyle/>
        <a:p>
          <a:r>
            <a:rPr lang="en-US" sz="1800" dirty="0" err="1" smtClean="0"/>
            <a:t>Mengenal</a:t>
          </a:r>
          <a:r>
            <a:rPr lang="en-US" sz="1800" dirty="0" smtClean="0"/>
            <a:t> </a:t>
          </a:r>
          <a:r>
            <a:rPr lang="en-US" sz="1800" dirty="0" err="1" smtClean="0"/>
            <a:t>pasti</a:t>
          </a:r>
          <a:r>
            <a:rPr lang="en-US" sz="1800" dirty="0" smtClean="0"/>
            <a:t> </a:t>
          </a:r>
          <a:r>
            <a:rPr lang="en-US" sz="1800" dirty="0" err="1" smtClean="0"/>
            <a:t>sekolah</a:t>
          </a:r>
          <a:r>
            <a:rPr lang="en-US" sz="1800" dirty="0" smtClean="0"/>
            <a:t> </a:t>
          </a:r>
          <a:r>
            <a:rPr lang="en-US" sz="1800" dirty="0" err="1" smtClean="0"/>
            <a:t>dari</a:t>
          </a:r>
          <a:r>
            <a:rPr lang="en-US" sz="1800" dirty="0" smtClean="0"/>
            <a:t> Band 5 (</a:t>
          </a:r>
          <a:r>
            <a:rPr lang="en-US" sz="1800" dirty="0" err="1" smtClean="0"/>
            <a:t>Pencalonan</a:t>
          </a:r>
          <a:r>
            <a:rPr lang="en-US" sz="1800" dirty="0" smtClean="0"/>
            <a:t> </a:t>
          </a:r>
          <a:r>
            <a:rPr lang="en-US" sz="1800" dirty="0" err="1" smtClean="0"/>
            <a:t>oleh</a:t>
          </a:r>
          <a:r>
            <a:rPr lang="en-US" sz="1800" dirty="0" smtClean="0"/>
            <a:t> </a:t>
          </a:r>
          <a:r>
            <a:rPr lang="en-US" sz="1800" dirty="0" err="1" smtClean="0"/>
            <a:t>pihak</a:t>
          </a:r>
          <a:r>
            <a:rPr lang="en-US" sz="1800" dirty="0" smtClean="0"/>
            <a:t> PPD/ JPN)</a:t>
          </a:r>
          <a:endParaRPr lang="en-US" sz="1800" dirty="0"/>
        </a:p>
      </dgm:t>
    </dgm:pt>
    <dgm:pt modelId="{EA1AD9DF-A601-4259-AB35-D3A14ED76A4F}" type="parTrans" cxnId="{B3813375-8B8A-48D4-9D9C-C52137708A17}">
      <dgm:prSet/>
      <dgm:spPr/>
      <dgm:t>
        <a:bodyPr/>
        <a:lstStyle/>
        <a:p>
          <a:endParaRPr lang="en-US"/>
        </a:p>
      </dgm:t>
    </dgm:pt>
    <dgm:pt modelId="{905966B3-D347-46D5-B8F7-5C7F7BFC53C9}" type="sibTrans" cxnId="{B3813375-8B8A-48D4-9D9C-C52137708A17}">
      <dgm:prSet/>
      <dgm:spPr/>
      <dgm:t>
        <a:bodyPr/>
        <a:lstStyle/>
        <a:p>
          <a:endParaRPr lang="en-US"/>
        </a:p>
      </dgm:t>
    </dgm:pt>
    <dgm:pt modelId="{3291FA15-1A0A-4DB3-9F03-FA40547F297C}">
      <dgm:prSet phldrT="[Text]" custT="1"/>
      <dgm:spPr/>
      <dgm:t>
        <a:bodyPr/>
        <a:lstStyle/>
        <a:p>
          <a:r>
            <a:rPr lang="en-US" sz="1800" dirty="0" err="1" smtClean="0"/>
            <a:t>Pelaporan</a:t>
          </a:r>
          <a:r>
            <a:rPr lang="en-US" sz="1800" dirty="0" smtClean="0"/>
            <a:t> </a:t>
          </a:r>
          <a:r>
            <a:rPr lang="en-US" sz="1800" dirty="0" err="1" smtClean="0"/>
            <a:t>dan</a:t>
          </a:r>
          <a:r>
            <a:rPr lang="en-US" sz="1800" dirty="0" smtClean="0"/>
            <a:t> </a:t>
          </a:r>
          <a:r>
            <a:rPr lang="en-US" sz="1800" dirty="0" err="1" smtClean="0"/>
            <a:t>pemantauan</a:t>
          </a:r>
          <a:r>
            <a:rPr lang="en-US" sz="1800" dirty="0" smtClean="0"/>
            <a:t> </a:t>
          </a:r>
          <a:r>
            <a:rPr lang="en-US" sz="1800" dirty="0" err="1" smtClean="0"/>
            <a:t>pelaksanaan</a:t>
          </a:r>
          <a:r>
            <a:rPr lang="en-US" sz="1800" dirty="0" smtClean="0"/>
            <a:t> Program </a:t>
          </a:r>
          <a:r>
            <a:rPr lang="en-US" sz="1800" dirty="0" err="1" smtClean="0"/>
            <a:t>kepada</a:t>
          </a:r>
          <a:r>
            <a:rPr lang="en-US" sz="1800" dirty="0" smtClean="0"/>
            <a:t> </a:t>
          </a:r>
          <a:r>
            <a:rPr lang="en-US" sz="1800" dirty="0" err="1" smtClean="0"/>
            <a:t>pihak</a:t>
          </a:r>
          <a:r>
            <a:rPr lang="en-US" sz="1800" dirty="0" smtClean="0"/>
            <a:t> </a:t>
          </a:r>
          <a:r>
            <a:rPr lang="en-US" sz="1800" dirty="0" err="1" smtClean="0"/>
            <a:t>berwajib</a:t>
          </a:r>
          <a:endParaRPr lang="en-US" sz="1800" dirty="0"/>
        </a:p>
      </dgm:t>
    </dgm:pt>
    <dgm:pt modelId="{BB5A1317-E398-49BC-93E7-3913027E17DB}" type="parTrans" cxnId="{5776CCA1-1EF9-4367-98C1-53657A7FF461}">
      <dgm:prSet/>
      <dgm:spPr/>
      <dgm:t>
        <a:bodyPr/>
        <a:lstStyle/>
        <a:p>
          <a:endParaRPr lang="en-US"/>
        </a:p>
      </dgm:t>
    </dgm:pt>
    <dgm:pt modelId="{A493B9F3-2817-4F25-825D-96CA776CFB51}" type="sibTrans" cxnId="{5776CCA1-1EF9-4367-98C1-53657A7FF461}">
      <dgm:prSet/>
      <dgm:spPr/>
      <dgm:t>
        <a:bodyPr/>
        <a:lstStyle/>
        <a:p>
          <a:endParaRPr lang="en-US"/>
        </a:p>
      </dgm:t>
    </dgm:pt>
    <dgm:pt modelId="{9463678A-F3B7-444B-A7E5-D5BBCB70F9C2}">
      <dgm:prSet phldrT="[Text]" custT="1"/>
      <dgm:spPr/>
      <dgm:t>
        <a:bodyPr/>
        <a:lstStyle/>
        <a:p>
          <a:r>
            <a:rPr lang="en-US" sz="1600" dirty="0" err="1" smtClean="0"/>
            <a:t>Pemantauan</a:t>
          </a:r>
          <a:r>
            <a:rPr lang="en-US" sz="1600" dirty="0" smtClean="0"/>
            <a:t> </a:t>
          </a:r>
          <a:r>
            <a:rPr lang="en-US" sz="1600" dirty="0" err="1" smtClean="0"/>
            <a:t>dan</a:t>
          </a:r>
          <a:r>
            <a:rPr lang="en-US" sz="1600" dirty="0" smtClean="0"/>
            <a:t> </a:t>
          </a:r>
          <a:r>
            <a:rPr lang="en-US" sz="1600" dirty="0" err="1" smtClean="0"/>
            <a:t>bimbingan</a:t>
          </a:r>
          <a:r>
            <a:rPr lang="en-US" sz="1600" dirty="0" smtClean="0"/>
            <a:t> </a:t>
          </a:r>
          <a:r>
            <a:rPr lang="en-US" sz="1600" dirty="0" err="1" smtClean="0"/>
            <a:t>kepada</a:t>
          </a:r>
          <a:r>
            <a:rPr lang="en-US" sz="1600" dirty="0" smtClean="0"/>
            <a:t> </a:t>
          </a:r>
          <a:r>
            <a:rPr lang="en-US" sz="1600" dirty="0" err="1" smtClean="0"/>
            <a:t>sekolah</a:t>
          </a:r>
          <a:endParaRPr lang="en-US" sz="1600" dirty="0"/>
        </a:p>
      </dgm:t>
    </dgm:pt>
    <dgm:pt modelId="{E57AE0B9-E42D-4F6F-B8A8-05428FB25777}" type="parTrans" cxnId="{14881400-1BCF-4C5E-8373-1C4176C2F254}">
      <dgm:prSet/>
      <dgm:spPr/>
      <dgm:t>
        <a:bodyPr/>
        <a:lstStyle/>
        <a:p>
          <a:endParaRPr lang="en-US"/>
        </a:p>
      </dgm:t>
    </dgm:pt>
    <dgm:pt modelId="{38CEF290-AB6D-4DE5-890A-FC94BEE90408}" type="sibTrans" cxnId="{14881400-1BCF-4C5E-8373-1C4176C2F254}">
      <dgm:prSet/>
      <dgm:spPr/>
      <dgm:t>
        <a:bodyPr/>
        <a:lstStyle/>
        <a:p>
          <a:endParaRPr lang="en-US"/>
        </a:p>
      </dgm:t>
    </dgm:pt>
    <dgm:pt modelId="{D1E6C333-35CF-4EEA-AB35-82F0EA5FDC4E}">
      <dgm:prSet phldrT="[Text]" custT="1"/>
      <dgm:spPr/>
      <dgm:t>
        <a:bodyPr/>
        <a:lstStyle/>
        <a:p>
          <a:r>
            <a:rPr lang="en-US" sz="1600" dirty="0" err="1" smtClean="0"/>
            <a:t>Menjalankan</a:t>
          </a:r>
          <a:r>
            <a:rPr lang="en-US" sz="1600" dirty="0" smtClean="0"/>
            <a:t> </a:t>
          </a:r>
          <a:r>
            <a:rPr lang="en-US" sz="1600" dirty="0" err="1" smtClean="0"/>
            <a:t>kajian</a:t>
          </a:r>
          <a:r>
            <a:rPr lang="en-US" sz="1600" dirty="0" smtClean="0"/>
            <a:t> </a:t>
          </a:r>
          <a:r>
            <a:rPr lang="en-US" sz="1600" dirty="0" err="1" smtClean="0"/>
            <a:t>impak</a:t>
          </a:r>
          <a:r>
            <a:rPr lang="en-US" sz="1600" dirty="0" smtClean="0"/>
            <a:t> </a:t>
          </a:r>
          <a:r>
            <a:rPr lang="en-US" sz="1600" dirty="0" err="1" smtClean="0"/>
            <a:t>pelaksanaan</a:t>
          </a:r>
          <a:endParaRPr lang="en-US" sz="1600" dirty="0"/>
        </a:p>
      </dgm:t>
    </dgm:pt>
    <dgm:pt modelId="{653C95B9-AF5E-4048-9609-6B97968FB2B3}" type="parTrans" cxnId="{9D07CCC2-FA34-4BCB-BD33-573DDE67E7A0}">
      <dgm:prSet/>
      <dgm:spPr/>
      <dgm:t>
        <a:bodyPr/>
        <a:lstStyle/>
        <a:p>
          <a:endParaRPr lang="en-US"/>
        </a:p>
      </dgm:t>
    </dgm:pt>
    <dgm:pt modelId="{38B4E4DF-6D11-4C0E-94CC-C101FE99B9F0}" type="sibTrans" cxnId="{9D07CCC2-FA34-4BCB-BD33-573DDE67E7A0}">
      <dgm:prSet/>
      <dgm:spPr/>
      <dgm:t>
        <a:bodyPr/>
        <a:lstStyle/>
        <a:p>
          <a:endParaRPr lang="en-US"/>
        </a:p>
      </dgm:t>
    </dgm:pt>
    <dgm:pt modelId="{931D2CB4-2561-4772-9170-14EF453B14DA}">
      <dgm:prSet phldrT="[Text]" custT="1"/>
      <dgm:spPr/>
      <dgm:t>
        <a:bodyPr/>
        <a:lstStyle/>
        <a:p>
          <a:r>
            <a:rPr lang="en-US" sz="1600" dirty="0" err="1" smtClean="0"/>
            <a:t>Menyediakan</a:t>
          </a:r>
          <a:r>
            <a:rPr lang="en-US" sz="1600" dirty="0" smtClean="0"/>
            <a:t> </a:t>
          </a:r>
          <a:r>
            <a:rPr lang="en-US" sz="1600" dirty="0" err="1" smtClean="0"/>
            <a:t>laporan</a:t>
          </a:r>
          <a:r>
            <a:rPr lang="en-US" sz="1600" dirty="0" smtClean="0"/>
            <a:t> </a:t>
          </a:r>
          <a:r>
            <a:rPr lang="en-US" sz="1600" dirty="0" err="1" smtClean="0"/>
            <a:t>kepada</a:t>
          </a:r>
          <a:r>
            <a:rPr lang="en-US" sz="1600" dirty="0" smtClean="0"/>
            <a:t> BPG</a:t>
          </a:r>
          <a:endParaRPr lang="en-US" sz="1600" dirty="0"/>
        </a:p>
      </dgm:t>
    </dgm:pt>
    <dgm:pt modelId="{D478491B-A8A9-4619-BA5C-442B16A3209F}" type="parTrans" cxnId="{6AC2913E-EDB7-404F-A408-42D0F1A9D187}">
      <dgm:prSet/>
      <dgm:spPr/>
      <dgm:t>
        <a:bodyPr/>
        <a:lstStyle/>
        <a:p>
          <a:endParaRPr lang="en-US"/>
        </a:p>
      </dgm:t>
    </dgm:pt>
    <dgm:pt modelId="{1D4EE0AB-84B6-4A49-8A62-97FF2ADF61C3}" type="sibTrans" cxnId="{6AC2913E-EDB7-404F-A408-42D0F1A9D187}">
      <dgm:prSet/>
      <dgm:spPr/>
      <dgm:t>
        <a:bodyPr/>
        <a:lstStyle/>
        <a:p>
          <a:endParaRPr lang="en-US"/>
        </a:p>
      </dgm:t>
    </dgm:pt>
    <dgm:pt modelId="{AE1EF476-38CD-4FF7-94DC-0A8C881085E5}">
      <dgm:prSet phldrT="[Text]" custT="1"/>
      <dgm:spPr/>
      <dgm:t>
        <a:bodyPr/>
        <a:lstStyle/>
        <a:p>
          <a:r>
            <a:rPr lang="en-US" sz="1600" dirty="0" err="1" smtClean="0"/>
            <a:t>Memberi</a:t>
          </a:r>
          <a:r>
            <a:rPr lang="en-US" sz="1600" dirty="0" smtClean="0"/>
            <a:t> </a:t>
          </a:r>
          <a:r>
            <a:rPr lang="en-US" sz="1600" dirty="0" err="1" smtClean="0"/>
            <a:t>khidmat</a:t>
          </a:r>
          <a:r>
            <a:rPr lang="en-US" sz="1600" dirty="0" smtClean="0"/>
            <a:t> </a:t>
          </a:r>
          <a:r>
            <a:rPr lang="en-US" sz="1600" dirty="0" err="1" smtClean="0"/>
            <a:t>pengetahuan</a:t>
          </a:r>
          <a:r>
            <a:rPr lang="en-US" sz="1600" dirty="0" smtClean="0"/>
            <a:t> </a:t>
          </a:r>
          <a:r>
            <a:rPr lang="en-US" sz="1600" dirty="0" err="1" smtClean="0"/>
            <a:t>dan</a:t>
          </a:r>
          <a:r>
            <a:rPr lang="en-US" sz="1600" dirty="0" smtClean="0"/>
            <a:t> </a:t>
          </a:r>
          <a:r>
            <a:rPr lang="en-US" sz="1600" dirty="0" err="1" smtClean="0"/>
            <a:t>pengalaman</a:t>
          </a:r>
          <a:r>
            <a:rPr lang="en-US" sz="1600" dirty="0" smtClean="0"/>
            <a:t> </a:t>
          </a:r>
          <a:r>
            <a:rPr lang="en-US" sz="1600" dirty="0" err="1" smtClean="0"/>
            <a:t>dalam</a:t>
          </a:r>
          <a:r>
            <a:rPr lang="en-US" sz="1600" dirty="0" smtClean="0"/>
            <a:t> </a:t>
          </a:r>
          <a:r>
            <a:rPr lang="en-US" sz="1600" dirty="0" err="1" smtClean="0"/>
            <a:t>PdP</a:t>
          </a:r>
          <a:r>
            <a:rPr lang="en-US" sz="1600" dirty="0" smtClean="0"/>
            <a:t> yang </a:t>
          </a:r>
          <a:r>
            <a:rPr lang="en-US" sz="1600" dirty="0" err="1" smtClean="0"/>
            <a:t>berkesan</a:t>
          </a:r>
          <a:r>
            <a:rPr lang="en-US" sz="1600" dirty="0" smtClean="0"/>
            <a:t> </a:t>
          </a:r>
          <a:r>
            <a:rPr lang="en-US" sz="1600" dirty="0" err="1" smtClean="0"/>
            <a:t>kepada</a:t>
          </a:r>
          <a:r>
            <a:rPr lang="en-US" sz="1600" dirty="0" smtClean="0"/>
            <a:t> guru.</a:t>
          </a:r>
          <a:endParaRPr lang="en-US" sz="1600" dirty="0"/>
        </a:p>
      </dgm:t>
    </dgm:pt>
    <dgm:pt modelId="{EC8516BA-C14E-4765-BEEA-FA04C32F5A8D}" type="parTrans" cxnId="{2A7EBD99-88D3-4F74-A6AF-13D4971A953E}">
      <dgm:prSet/>
      <dgm:spPr/>
      <dgm:t>
        <a:bodyPr/>
        <a:lstStyle/>
        <a:p>
          <a:endParaRPr lang="en-MY"/>
        </a:p>
      </dgm:t>
    </dgm:pt>
    <dgm:pt modelId="{D4131214-1D48-402F-864F-AD9B368F0667}" type="sibTrans" cxnId="{2A7EBD99-88D3-4F74-A6AF-13D4971A953E}">
      <dgm:prSet/>
      <dgm:spPr/>
      <dgm:t>
        <a:bodyPr/>
        <a:lstStyle/>
        <a:p>
          <a:endParaRPr lang="en-MY"/>
        </a:p>
      </dgm:t>
    </dgm:pt>
    <dgm:pt modelId="{EBE8366E-9A61-43EF-8DF5-99060F82E887}">
      <dgm:prSet phldrT="[Text]" custT="1"/>
      <dgm:spPr/>
      <dgm:t>
        <a:bodyPr/>
        <a:lstStyle/>
        <a:p>
          <a:r>
            <a:rPr lang="en-US" sz="1600" i="1" dirty="0" smtClean="0"/>
            <a:t>Master Trainer  </a:t>
          </a:r>
          <a:r>
            <a:rPr lang="en-US" sz="1600" dirty="0" smtClean="0"/>
            <a:t>PLC </a:t>
          </a:r>
          <a:r>
            <a:rPr lang="en-US" sz="1600" dirty="0" err="1" smtClean="0"/>
            <a:t>Kebangsaan</a:t>
          </a:r>
          <a:endParaRPr lang="en-US" sz="1600" dirty="0"/>
        </a:p>
      </dgm:t>
    </dgm:pt>
    <dgm:pt modelId="{777A301D-EDDC-440D-B82D-E9221865742A}" type="parTrans" cxnId="{C682818C-78A3-45CD-A9F6-8629E7599119}">
      <dgm:prSet/>
      <dgm:spPr/>
      <dgm:t>
        <a:bodyPr/>
        <a:lstStyle/>
        <a:p>
          <a:endParaRPr lang="en-MY"/>
        </a:p>
      </dgm:t>
    </dgm:pt>
    <dgm:pt modelId="{D481E336-BF96-48F0-92A8-34DE7DDDF819}" type="sibTrans" cxnId="{C682818C-78A3-45CD-A9F6-8629E7599119}">
      <dgm:prSet/>
      <dgm:spPr/>
      <dgm:t>
        <a:bodyPr/>
        <a:lstStyle/>
        <a:p>
          <a:endParaRPr lang="en-MY"/>
        </a:p>
      </dgm:t>
    </dgm:pt>
    <dgm:pt modelId="{DC76FC76-1409-4C82-8ACA-6188FD6DA3F8}">
      <dgm:prSet phldrT="[Text]" custT="1"/>
      <dgm:spPr/>
      <dgm:t>
        <a:bodyPr/>
        <a:lstStyle/>
        <a:p>
          <a:r>
            <a:rPr lang="en-US" sz="1600" dirty="0" err="1" smtClean="0"/>
            <a:t>Merancang</a:t>
          </a:r>
          <a:r>
            <a:rPr lang="en-US" sz="1600" dirty="0" smtClean="0"/>
            <a:t> </a:t>
          </a:r>
          <a:r>
            <a:rPr lang="en-US" sz="1600" dirty="0" err="1" smtClean="0"/>
            <a:t>pelaksanaan</a:t>
          </a:r>
          <a:r>
            <a:rPr lang="en-US" sz="1600" dirty="0" smtClean="0"/>
            <a:t> program PLC </a:t>
          </a:r>
          <a:r>
            <a:rPr lang="en-US" sz="1600" dirty="0" err="1" smtClean="0"/>
            <a:t>peringkat</a:t>
          </a:r>
          <a:r>
            <a:rPr lang="en-US" sz="1600" dirty="0" smtClean="0"/>
            <a:t> </a:t>
          </a:r>
          <a:r>
            <a:rPr lang="en-US" sz="1600" dirty="0" err="1" smtClean="0"/>
            <a:t>negara</a:t>
          </a:r>
          <a:r>
            <a:rPr lang="en-US" sz="1600" dirty="0" smtClean="0"/>
            <a:t> </a:t>
          </a:r>
          <a:r>
            <a:rPr lang="en-US" sz="1600" dirty="0" err="1" smtClean="0"/>
            <a:t>bersama</a:t>
          </a:r>
          <a:r>
            <a:rPr lang="en-US" sz="1600" dirty="0" smtClean="0"/>
            <a:t> BPG</a:t>
          </a:r>
          <a:endParaRPr lang="en-US" sz="1600" dirty="0"/>
        </a:p>
      </dgm:t>
    </dgm:pt>
    <dgm:pt modelId="{410E67A5-138F-42EA-9ABB-1E0DE070611B}" type="parTrans" cxnId="{BDAADEE7-FA34-43FC-ACDC-6E04ACD7D7C8}">
      <dgm:prSet/>
      <dgm:spPr/>
      <dgm:t>
        <a:bodyPr/>
        <a:lstStyle/>
        <a:p>
          <a:endParaRPr lang="en-US"/>
        </a:p>
      </dgm:t>
    </dgm:pt>
    <dgm:pt modelId="{DE0E7D3E-D9BD-4460-BE5F-AFDD2D887338}" type="sibTrans" cxnId="{BDAADEE7-FA34-43FC-ACDC-6E04ACD7D7C8}">
      <dgm:prSet/>
      <dgm:spPr/>
      <dgm:t>
        <a:bodyPr/>
        <a:lstStyle/>
        <a:p>
          <a:endParaRPr lang="en-US"/>
        </a:p>
      </dgm:t>
    </dgm:pt>
    <dgm:pt modelId="{9307BFC3-4CBC-418B-B9B1-C6733EE8BDF7}" type="pres">
      <dgm:prSet presAssocID="{8EFDD57F-1443-4DF8-8C34-FB75EF381E92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42D2749-E9F7-4C01-AA09-1F73A489C4BC}" type="pres">
      <dgm:prSet presAssocID="{F0B8BE8B-E200-4FEA-99DE-9DF02A56A1D8}" presName="linNode" presStyleCnt="0"/>
      <dgm:spPr/>
    </dgm:pt>
    <dgm:pt modelId="{A0770E37-46AE-4DC4-9497-4A509AD1A41A}" type="pres">
      <dgm:prSet presAssocID="{F0B8BE8B-E200-4FEA-99DE-9DF02A56A1D8}" presName="parentText" presStyleLbl="node1" presStyleIdx="0" presStyleCnt="2" custScaleX="72273" custScaleY="59849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DE3A39E-FACA-473B-90CE-A3F224621484}" type="pres">
      <dgm:prSet presAssocID="{F0B8BE8B-E200-4FEA-99DE-9DF02A56A1D8}" presName="descendantText" presStyleLbl="alignAccFollowNode1" presStyleIdx="0" presStyleCnt="2" custScaleX="99972" custScaleY="85126" custLinFactNeighborX="22067" custLinFactNeighborY="-338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3ACBBE2-60DA-411B-BA77-ABFDF6885687}" type="pres">
      <dgm:prSet presAssocID="{6FC5ABF5-5674-4BDD-ACCF-54D4F05476B0}" presName="sp" presStyleCnt="0"/>
      <dgm:spPr/>
    </dgm:pt>
    <dgm:pt modelId="{E2A09FA7-DE78-4999-A995-D39F0C0C3FA4}" type="pres">
      <dgm:prSet presAssocID="{C2969FEC-F1E6-43F5-B999-BCD8CEAB948E}" presName="linNode" presStyleCnt="0"/>
      <dgm:spPr/>
    </dgm:pt>
    <dgm:pt modelId="{6070943C-8367-460F-92F5-9FA221DAB6EE}" type="pres">
      <dgm:prSet presAssocID="{C2969FEC-F1E6-43F5-B999-BCD8CEAB948E}" presName="parentText" presStyleLbl="node1" presStyleIdx="1" presStyleCnt="2" custScaleX="73623" custLinFactNeighborY="-483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141AC2D-1145-4814-9CD6-D6EAA09B9B35}" type="pres">
      <dgm:prSet presAssocID="{C2969FEC-F1E6-43F5-B999-BCD8CEAB948E}" presName="descendantText" presStyleLbl="alignAccFollowNode1" presStyleIdx="1" presStyleCnt="2" custScaleY="110500" custLinFactNeighborX="13096" custLinFactNeighborY="-343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4881400-1BCF-4C5E-8373-1C4176C2F254}" srcId="{C2969FEC-F1E6-43F5-B999-BCD8CEAB948E}" destId="{9463678A-F3B7-444B-A7E5-D5BBCB70F9C2}" srcOrd="3" destOrd="0" parTransId="{E57AE0B9-E42D-4F6F-B8A8-05428FB25777}" sibTransId="{38CEF290-AB6D-4DE5-890A-FC94BEE90408}"/>
    <dgm:cxn modelId="{6AC2913E-EDB7-404F-A408-42D0F1A9D187}" srcId="{C2969FEC-F1E6-43F5-B999-BCD8CEAB948E}" destId="{931D2CB4-2561-4772-9170-14EF453B14DA}" srcOrd="5" destOrd="0" parTransId="{D478491B-A8A9-4619-BA5C-442B16A3209F}" sibTransId="{1D4EE0AB-84B6-4A49-8A62-97FF2ADF61C3}"/>
    <dgm:cxn modelId="{5776CCA1-1EF9-4367-98C1-53657A7FF461}" srcId="{F0B8BE8B-E200-4FEA-99DE-9DF02A56A1D8}" destId="{3291FA15-1A0A-4DB3-9F03-FA40547F297C}" srcOrd="3" destOrd="0" parTransId="{BB5A1317-E398-49BC-93E7-3913027E17DB}" sibTransId="{A493B9F3-2817-4F25-825D-96CA776CFB51}"/>
    <dgm:cxn modelId="{C532972E-BE23-4BBD-A2A5-AF49956CF332}" type="presOf" srcId="{C2969FEC-F1E6-43F5-B999-BCD8CEAB948E}" destId="{6070943C-8367-460F-92F5-9FA221DAB6EE}" srcOrd="0" destOrd="0" presId="urn:microsoft.com/office/officeart/2005/8/layout/vList5"/>
    <dgm:cxn modelId="{B3813375-8B8A-48D4-9D9C-C52137708A17}" srcId="{F0B8BE8B-E200-4FEA-99DE-9DF02A56A1D8}" destId="{0B8DBD40-387F-4610-BB72-B1CB075C3D1B}" srcOrd="2" destOrd="0" parTransId="{EA1AD9DF-A601-4259-AB35-D3A14ED76A4F}" sibTransId="{905966B3-D347-46D5-B8F7-5C7F7BFC53C9}"/>
    <dgm:cxn modelId="{E3D7CB75-344E-4BFE-B530-1BD5956D046E}" srcId="{8EFDD57F-1443-4DF8-8C34-FB75EF381E92}" destId="{C2969FEC-F1E6-43F5-B999-BCD8CEAB948E}" srcOrd="1" destOrd="0" parTransId="{42251BD9-BA70-42D2-B40C-55F96F39D91A}" sibTransId="{50FDA752-5A0C-40C0-AB44-7893FCB2A546}"/>
    <dgm:cxn modelId="{79FC91AA-40EA-4E22-9456-0121A13DA67F}" type="presOf" srcId="{0B8DBD40-387F-4610-BB72-B1CB075C3D1B}" destId="{7DE3A39E-FACA-473B-90CE-A3F224621484}" srcOrd="0" destOrd="2" presId="urn:microsoft.com/office/officeart/2005/8/layout/vList5"/>
    <dgm:cxn modelId="{232ABC15-90F2-4D2D-A750-D95D7752271C}" type="presOf" srcId="{DC76FC76-1409-4C82-8ACA-6188FD6DA3F8}" destId="{9141AC2D-1145-4814-9CD6-D6EAA09B9B35}" srcOrd="0" destOrd="1" presId="urn:microsoft.com/office/officeart/2005/8/layout/vList5"/>
    <dgm:cxn modelId="{5AFD51DD-D4CB-4247-B5DA-0D761C2CB8E2}" srcId="{8EFDD57F-1443-4DF8-8C34-FB75EF381E92}" destId="{F0B8BE8B-E200-4FEA-99DE-9DF02A56A1D8}" srcOrd="0" destOrd="0" parTransId="{E531F436-DE1B-4147-A2CD-A839C5DBA928}" sibTransId="{6FC5ABF5-5674-4BDD-ACCF-54D4F05476B0}"/>
    <dgm:cxn modelId="{36111473-1DA3-4141-9A50-122037017A10}" type="presOf" srcId="{1A7F7B5A-3BD1-452A-85D4-50F48C803934}" destId="{7DE3A39E-FACA-473B-90CE-A3F224621484}" srcOrd="0" destOrd="0" presId="urn:microsoft.com/office/officeart/2005/8/layout/vList5"/>
    <dgm:cxn modelId="{50F96C2C-4580-4B48-B20A-B6C748D787E6}" type="presOf" srcId="{9463678A-F3B7-444B-A7E5-D5BBCB70F9C2}" destId="{9141AC2D-1145-4814-9CD6-D6EAA09B9B35}" srcOrd="0" destOrd="3" presId="urn:microsoft.com/office/officeart/2005/8/layout/vList5"/>
    <dgm:cxn modelId="{B09B1FAE-0002-4A2A-9558-FD35BE8AB6CD}" srcId="{F0B8BE8B-E200-4FEA-99DE-9DF02A56A1D8}" destId="{1A7F7B5A-3BD1-452A-85D4-50F48C803934}" srcOrd="0" destOrd="0" parTransId="{2BC5D129-8A00-4D65-B3CC-EBECCFB28AFA}" sibTransId="{F44BE07A-6CD9-448B-A502-AB9B0D9676C3}"/>
    <dgm:cxn modelId="{DE944861-54A4-4EF1-80E1-34AD3F69DA17}" type="presOf" srcId="{931D2CB4-2561-4772-9170-14EF453B14DA}" destId="{9141AC2D-1145-4814-9CD6-D6EAA09B9B35}" srcOrd="0" destOrd="5" presId="urn:microsoft.com/office/officeart/2005/8/layout/vList5"/>
    <dgm:cxn modelId="{9D07CCC2-FA34-4BCB-BD33-573DDE67E7A0}" srcId="{C2969FEC-F1E6-43F5-B999-BCD8CEAB948E}" destId="{D1E6C333-35CF-4EEA-AB35-82F0EA5FDC4E}" srcOrd="4" destOrd="0" parTransId="{653C95B9-AF5E-4048-9609-6B97968FB2B3}" sibTransId="{38B4E4DF-6D11-4C0E-94CC-C101FE99B9F0}"/>
    <dgm:cxn modelId="{EB1A0E94-245B-4802-BADB-03CCBBEC1970}" type="presOf" srcId="{6B44FD91-CC0E-4D31-979A-D8293DBD4E31}" destId="{9141AC2D-1145-4814-9CD6-D6EAA09B9B35}" srcOrd="0" destOrd="2" presId="urn:microsoft.com/office/officeart/2005/8/layout/vList5"/>
    <dgm:cxn modelId="{C682818C-78A3-45CD-A9F6-8629E7599119}" srcId="{C2969FEC-F1E6-43F5-B999-BCD8CEAB948E}" destId="{EBE8366E-9A61-43EF-8DF5-99060F82E887}" srcOrd="0" destOrd="0" parTransId="{777A301D-EDDC-440D-B82D-E9221865742A}" sibTransId="{D481E336-BF96-48F0-92A8-34DE7DDDF819}"/>
    <dgm:cxn modelId="{465BAFE0-94EF-4A61-BA1D-C3E38686F609}" type="presOf" srcId="{D1E6C333-35CF-4EEA-AB35-82F0EA5FDC4E}" destId="{9141AC2D-1145-4814-9CD6-D6EAA09B9B35}" srcOrd="0" destOrd="4" presId="urn:microsoft.com/office/officeart/2005/8/layout/vList5"/>
    <dgm:cxn modelId="{91B27DCE-CAE0-42BF-8A2D-95D1CA898C14}" type="presOf" srcId="{F0B8BE8B-E200-4FEA-99DE-9DF02A56A1D8}" destId="{A0770E37-46AE-4DC4-9497-4A509AD1A41A}" srcOrd="0" destOrd="0" presId="urn:microsoft.com/office/officeart/2005/8/layout/vList5"/>
    <dgm:cxn modelId="{741BD090-8329-4478-8EC9-A62A982C8AF2}" srcId="{F0B8BE8B-E200-4FEA-99DE-9DF02A56A1D8}" destId="{C07D24A1-575E-42E0-A1EC-34B96149FA8E}" srcOrd="1" destOrd="0" parTransId="{63BA7FFC-9AEF-4711-A46F-8BF327AAD8D7}" sibTransId="{98CA2ED2-CAFE-434C-BD6E-2EBE0FE65C43}"/>
    <dgm:cxn modelId="{0A27F8E9-CEA3-4309-AB34-F42F2BF33B59}" type="presOf" srcId="{3291FA15-1A0A-4DB3-9F03-FA40547F297C}" destId="{7DE3A39E-FACA-473B-90CE-A3F224621484}" srcOrd="0" destOrd="3" presId="urn:microsoft.com/office/officeart/2005/8/layout/vList5"/>
    <dgm:cxn modelId="{2A7EBD99-88D3-4F74-A6AF-13D4971A953E}" srcId="{C2969FEC-F1E6-43F5-B999-BCD8CEAB948E}" destId="{AE1EF476-38CD-4FF7-94DC-0A8C881085E5}" srcOrd="6" destOrd="0" parTransId="{EC8516BA-C14E-4765-BEEA-FA04C32F5A8D}" sibTransId="{D4131214-1D48-402F-864F-AD9B368F0667}"/>
    <dgm:cxn modelId="{EFF62F6A-EDE1-404B-BF65-B5152D97797B}" type="presOf" srcId="{EBE8366E-9A61-43EF-8DF5-99060F82E887}" destId="{9141AC2D-1145-4814-9CD6-D6EAA09B9B35}" srcOrd="0" destOrd="0" presId="urn:microsoft.com/office/officeart/2005/8/layout/vList5"/>
    <dgm:cxn modelId="{3A51855C-A0EE-4510-B0CB-1FE4F8DABF7C}" type="presOf" srcId="{8EFDD57F-1443-4DF8-8C34-FB75EF381E92}" destId="{9307BFC3-4CBC-418B-B9B1-C6733EE8BDF7}" srcOrd="0" destOrd="0" presId="urn:microsoft.com/office/officeart/2005/8/layout/vList5"/>
    <dgm:cxn modelId="{BDAADEE7-FA34-43FC-ACDC-6E04ACD7D7C8}" srcId="{C2969FEC-F1E6-43F5-B999-BCD8CEAB948E}" destId="{DC76FC76-1409-4C82-8ACA-6188FD6DA3F8}" srcOrd="1" destOrd="0" parTransId="{410E67A5-138F-42EA-9ABB-1E0DE070611B}" sibTransId="{DE0E7D3E-D9BD-4460-BE5F-AFDD2D887338}"/>
    <dgm:cxn modelId="{2BF842CB-E4F7-429C-B672-51CEE3DDAA1A}" type="presOf" srcId="{C07D24A1-575E-42E0-A1EC-34B96149FA8E}" destId="{7DE3A39E-FACA-473B-90CE-A3F224621484}" srcOrd="0" destOrd="1" presId="urn:microsoft.com/office/officeart/2005/8/layout/vList5"/>
    <dgm:cxn modelId="{3452F2DA-CFE8-4E8C-AB58-38345FC888B3}" srcId="{C2969FEC-F1E6-43F5-B999-BCD8CEAB948E}" destId="{6B44FD91-CC0E-4D31-979A-D8293DBD4E31}" srcOrd="2" destOrd="0" parTransId="{841B3E0C-2432-4A3A-A8A3-6C1913938744}" sibTransId="{5131CA20-45C7-4121-849B-FA6224F000A5}"/>
    <dgm:cxn modelId="{0C1B5DAD-5205-4A8C-8CF6-8D3546E0290A}" type="presOf" srcId="{AE1EF476-38CD-4FF7-94DC-0A8C881085E5}" destId="{9141AC2D-1145-4814-9CD6-D6EAA09B9B35}" srcOrd="0" destOrd="6" presId="urn:microsoft.com/office/officeart/2005/8/layout/vList5"/>
    <dgm:cxn modelId="{6BBF47E6-56F0-49AA-9187-D882C680E1FB}" type="presParOf" srcId="{9307BFC3-4CBC-418B-B9B1-C6733EE8BDF7}" destId="{F42D2749-E9F7-4C01-AA09-1F73A489C4BC}" srcOrd="0" destOrd="0" presId="urn:microsoft.com/office/officeart/2005/8/layout/vList5"/>
    <dgm:cxn modelId="{CC52696D-DB91-4074-8165-9A609AB2EBB9}" type="presParOf" srcId="{F42D2749-E9F7-4C01-AA09-1F73A489C4BC}" destId="{A0770E37-46AE-4DC4-9497-4A509AD1A41A}" srcOrd="0" destOrd="0" presId="urn:microsoft.com/office/officeart/2005/8/layout/vList5"/>
    <dgm:cxn modelId="{372DB189-0EE0-4092-95AB-EC1D1116FA38}" type="presParOf" srcId="{F42D2749-E9F7-4C01-AA09-1F73A489C4BC}" destId="{7DE3A39E-FACA-473B-90CE-A3F224621484}" srcOrd="1" destOrd="0" presId="urn:microsoft.com/office/officeart/2005/8/layout/vList5"/>
    <dgm:cxn modelId="{8C1DCBBA-A098-4106-ABC5-A3DA15EA2DFA}" type="presParOf" srcId="{9307BFC3-4CBC-418B-B9B1-C6733EE8BDF7}" destId="{F3ACBBE2-60DA-411B-BA77-ABFDF6885687}" srcOrd="1" destOrd="0" presId="urn:microsoft.com/office/officeart/2005/8/layout/vList5"/>
    <dgm:cxn modelId="{AEC87576-AB68-409E-B50E-971DDBC961B6}" type="presParOf" srcId="{9307BFC3-4CBC-418B-B9B1-C6733EE8BDF7}" destId="{E2A09FA7-DE78-4999-A995-D39F0C0C3FA4}" srcOrd="2" destOrd="0" presId="urn:microsoft.com/office/officeart/2005/8/layout/vList5"/>
    <dgm:cxn modelId="{59D69C0B-F438-4293-8A05-34FF45C46EF8}" type="presParOf" srcId="{E2A09FA7-DE78-4999-A995-D39F0C0C3FA4}" destId="{6070943C-8367-460F-92F5-9FA221DAB6EE}" srcOrd="0" destOrd="0" presId="urn:microsoft.com/office/officeart/2005/8/layout/vList5"/>
    <dgm:cxn modelId="{A9373276-6128-4050-B58B-EAF237B2906E}" type="presParOf" srcId="{E2A09FA7-DE78-4999-A995-D39F0C0C3FA4}" destId="{9141AC2D-1145-4814-9CD6-D6EAA09B9B35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EFDD57F-1443-4DF8-8C34-FB75EF381E92}" type="doc">
      <dgm:prSet loTypeId="urn:microsoft.com/office/officeart/2005/8/layout/vList5" loCatId="list" qsTypeId="urn:microsoft.com/office/officeart/2005/8/quickstyle/simple1#2" qsCatId="simple" csTypeId="urn:microsoft.com/office/officeart/2005/8/colors/accent4_3#2" csCatId="accent4" phldr="1"/>
      <dgm:spPr/>
      <dgm:t>
        <a:bodyPr/>
        <a:lstStyle/>
        <a:p>
          <a:endParaRPr lang="en-US"/>
        </a:p>
      </dgm:t>
    </dgm:pt>
    <dgm:pt modelId="{F0B8BE8B-E200-4FEA-99DE-9DF02A56A1D8}">
      <dgm:prSet phldrT="[Text]" custT="1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3400" dirty="0" smtClean="0"/>
            <a:t>JPN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sz="1600" b="1" dirty="0" smtClean="0"/>
            <a:t>Peg </a:t>
          </a:r>
          <a:r>
            <a:rPr lang="en-US" sz="1600" b="1" dirty="0" err="1" smtClean="0"/>
            <a:t>Meja</a:t>
          </a:r>
          <a:r>
            <a:rPr lang="en-US" sz="1600" b="1" dirty="0" smtClean="0"/>
            <a:t> Program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sz="1600" dirty="0" smtClean="0"/>
            <a:t>KBAT/</a:t>
          </a:r>
          <a:r>
            <a:rPr lang="en-US" sz="1600" dirty="0" err="1" smtClean="0"/>
            <a:t>i</a:t>
          </a:r>
          <a:r>
            <a:rPr lang="en-US" sz="1600" dirty="0" smtClean="0"/>
            <a:t>-Think/ PBS/LINUS/MBMMBI/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sz="1600" dirty="0" smtClean="0"/>
            <a:t>VLE Frog</a:t>
          </a:r>
          <a:endParaRPr lang="en-US" sz="1600" dirty="0"/>
        </a:p>
      </dgm:t>
    </dgm:pt>
    <dgm:pt modelId="{E531F436-DE1B-4147-A2CD-A839C5DBA928}" type="parTrans" cxnId="{5AFD51DD-D4CB-4247-B5DA-0D761C2CB8E2}">
      <dgm:prSet/>
      <dgm:spPr/>
      <dgm:t>
        <a:bodyPr/>
        <a:lstStyle/>
        <a:p>
          <a:endParaRPr lang="en-US"/>
        </a:p>
      </dgm:t>
    </dgm:pt>
    <dgm:pt modelId="{6FC5ABF5-5674-4BDD-ACCF-54D4F05476B0}" type="sibTrans" cxnId="{5AFD51DD-D4CB-4247-B5DA-0D761C2CB8E2}">
      <dgm:prSet/>
      <dgm:spPr/>
      <dgm:t>
        <a:bodyPr/>
        <a:lstStyle/>
        <a:p>
          <a:endParaRPr lang="en-US"/>
        </a:p>
      </dgm:t>
    </dgm:pt>
    <dgm:pt modelId="{C2969FEC-F1E6-43F5-B999-BCD8CEAB948E}">
      <dgm:prSet phldrT="[Text]">
        <dgm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mtClean="0"/>
            <a:t>PPD</a:t>
          </a:r>
          <a:endParaRPr lang="en-US" dirty="0"/>
        </a:p>
      </dgm:t>
    </dgm:pt>
    <dgm:pt modelId="{42251BD9-BA70-42D2-B40C-55F96F39D91A}" type="parTrans" cxnId="{E3D7CB75-344E-4BFE-B530-1BD5956D046E}">
      <dgm:prSet/>
      <dgm:spPr/>
      <dgm:t>
        <a:bodyPr/>
        <a:lstStyle/>
        <a:p>
          <a:endParaRPr lang="en-US"/>
        </a:p>
      </dgm:t>
    </dgm:pt>
    <dgm:pt modelId="{50FDA752-5A0C-40C0-AB44-7893FCB2A546}" type="sibTrans" cxnId="{E3D7CB75-344E-4BFE-B530-1BD5956D046E}">
      <dgm:prSet/>
      <dgm:spPr/>
      <dgm:t>
        <a:bodyPr/>
        <a:lstStyle/>
        <a:p>
          <a:endParaRPr lang="en-US"/>
        </a:p>
      </dgm:t>
    </dgm:pt>
    <dgm:pt modelId="{9E1D5265-E3AB-42FE-82B0-FA10DDF7DBF5}">
      <dgm:prSet phldrT="[Text]"/>
      <dgm:spPr/>
      <dgm:t>
        <a:bodyPr/>
        <a:lstStyle/>
        <a:p>
          <a:r>
            <a:rPr lang="en-US" dirty="0" err="1" smtClean="0"/>
            <a:t>Pengetua</a:t>
          </a:r>
          <a:r>
            <a:rPr lang="en-US" dirty="0" smtClean="0"/>
            <a:t> / </a:t>
          </a:r>
        </a:p>
        <a:p>
          <a:r>
            <a:rPr lang="en-US" dirty="0" smtClean="0"/>
            <a:t>Guru </a:t>
          </a:r>
          <a:r>
            <a:rPr lang="en-US" dirty="0" err="1" smtClean="0"/>
            <a:t>Besar</a:t>
          </a:r>
          <a:r>
            <a:rPr lang="en-US" dirty="0" smtClean="0"/>
            <a:t>/ GPK </a:t>
          </a:r>
          <a:r>
            <a:rPr lang="en-US" dirty="0" err="1" smtClean="0"/>
            <a:t>Kurikulum</a:t>
          </a:r>
          <a:endParaRPr lang="en-US" dirty="0"/>
        </a:p>
      </dgm:t>
    </dgm:pt>
    <dgm:pt modelId="{DF97C0E4-B299-4B94-822B-869B9D2607FF}" type="sibTrans" cxnId="{DFFC8CB4-C269-4CA1-853A-FA1F8BF84BEC}">
      <dgm:prSet/>
      <dgm:spPr/>
      <dgm:t>
        <a:bodyPr/>
        <a:lstStyle/>
        <a:p>
          <a:endParaRPr lang="en-US"/>
        </a:p>
      </dgm:t>
    </dgm:pt>
    <dgm:pt modelId="{F3203BDD-1389-475A-99EA-8CD9F4EFDDEE}" type="parTrans" cxnId="{DFFC8CB4-C269-4CA1-853A-FA1F8BF84BEC}">
      <dgm:prSet/>
      <dgm:spPr/>
      <dgm:t>
        <a:bodyPr/>
        <a:lstStyle/>
        <a:p>
          <a:endParaRPr lang="en-US"/>
        </a:p>
      </dgm:t>
    </dgm:pt>
    <dgm:pt modelId="{0BFD9C13-C1B2-4BEF-9185-1E0D68C619EE}">
      <dgm:prSet phldrT="[Text]" custT="1"/>
      <dgm:spPr/>
      <dgm:t>
        <a:bodyPr/>
        <a:lstStyle/>
        <a:p>
          <a:r>
            <a:rPr lang="en-US" sz="1800" dirty="0" err="1" smtClean="0"/>
            <a:t>Membantu</a:t>
          </a:r>
          <a:r>
            <a:rPr lang="en-US" sz="1800" dirty="0" smtClean="0"/>
            <a:t> BPG </a:t>
          </a:r>
          <a:r>
            <a:rPr lang="en-US" sz="1800" dirty="0" err="1" smtClean="0"/>
            <a:t>dalam</a:t>
          </a:r>
          <a:r>
            <a:rPr lang="en-US" sz="1800" dirty="0" smtClean="0"/>
            <a:t> </a:t>
          </a:r>
          <a:r>
            <a:rPr lang="en-US" sz="1800" dirty="0" err="1" smtClean="0"/>
            <a:t>pelaksanaan</a:t>
          </a:r>
          <a:r>
            <a:rPr lang="en-US" sz="1800" dirty="0" smtClean="0"/>
            <a:t> Program</a:t>
          </a:r>
          <a:endParaRPr lang="en-US" sz="1800" dirty="0"/>
        </a:p>
      </dgm:t>
    </dgm:pt>
    <dgm:pt modelId="{13929696-0AC9-4996-9086-F0D0D38BEE15}" type="parTrans" cxnId="{87175F70-F6D0-4EDA-A132-0DBF88B9A802}">
      <dgm:prSet/>
      <dgm:spPr/>
      <dgm:t>
        <a:bodyPr/>
        <a:lstStyle/>
        <a:p>
          <a:endParaRPr lang="en-MY"/>
        </a:p>
      </dgm:t>
    </dgm:pt>
    <dgm:pt modelId="{4044E98C-FBC9-46E5-B812-F119F9F08E9B}" type="sibTrans" cxnId="{87175F70-F6D0-4EDA-A132-0DBF88B9A802}">
      <dgm:prSet/>
      <dgm:spPr/>
      <dgm:t>
        <a:bodyPr/>
        <a:lstStyle/>
        <a:p>
          <a:endParaRPr lang="en-MY"/>
        </a:p>
      </dgm:t>
    </dgm:pt>
    <dgm:pt modelId="{3A25E218-A3F4-419B-A99F-A5D3FE657B45}">
      <dgm:prSet phldrT="[Text]" custT="1"/>
      <dgm:spPr/>
      <dgm:t>
        <a:bodyPr/>
        <a:lstStyle/>
        <a:p>
          <a:r>
            <a:rPr lang="en-US" sz="1800" dirty="0" err="1" smtClean="0"/>
            <a:t>Penyelaras</a:t>
          </a:r>
          <a:r>
            <a:rPr lang="en-US" sz="1800" dirty="0" smtClean="0"/>
            <a:t> </a:t>
          </a:r>
          <a:r>
            <a:rPr lang="en-US" sz="1800" dirty="0" err="1" smtClean="0"/>
            <a:t>peringkat</a:t>
          </a:r>
          <a:r>
            <a:rPr lang="en-US" sz="1800" dirty="0" smtClean="0"/>
            <a:t> Daerah</a:t>
          </a:r>
          <a:endParaRPr lang="en-US" sz="1800" i="1" dirty="0"/>
        </a:p>
      </dgm:t>
    </dgm:pt>
    <dgm:pt modelId="{D004233F-AF88-47FB-8326-E1C4AF227CED}" type="parTrans" cxnId="{73AFC796-4CFB-444C-A5A3-77C8C8883A22}">
      <dgm:prSet/>
      <dgm:spPr/>
      <dgm:t>
        <a:bodyPr/>
        <a:lstStyle/>
        <a:p>
          <a:endParaRPr lang="en-MY"/>
        </a:p>
      </dgm:t>
    </dgm:pt>
    <dgm:pt modelId="{316F8FEF-AE83-4990-B8E4-BEFF24633C69}" type="sibTrans" cxnId="{73AFC796-4CFB-444C-A5A3-77C8C8883A22}">
      <dgm:prSet/>
      <dgm:spPr/>
      <dgm:t>
        <a:bodyPr/>
        <a:lstStyle/>
        <a:p>
          <a:endParaRPr lang="en-MY"/>
        </a:p>
      </dgm:t>
    </dgm:pt>
    <dgm:pt modelId="{7638B88D-7FC1-4991-AC90-5DA394DFED8D}">
      <dgm:prSet phldrT="[Text]" custT="1"/>
      <dgm:spPr/>
      <dgm:t>
        <a:bodyPr/>
        <a:lstStyle/>
        <a:p>
          <a:pPr marR="0" eaLnBrk="1" fontAlgn="auto" latinLnBrk="0" hangingPunct="1">
            <a:buClrTx/>
            <a:buSzTx/>
            <a:buFontTx/>
          </a:pPr>
          <a:r>
            <a:rPr lang="en-US" sz="1800" dirty="0" err="1" smtClean="0"/>
            <a:t>Membantu</a:t>
          </a:r>
          <a:r>
            <a:rPr lang="en-US" sz="1800" dirty="0" smtClean="0"/>
            <a:t> BPG </a:t>
          </a:r>
          <a:r>
            <a:rPr lang="en-US" sz="1800" dirty="0" err="1" smtClean="0"/>
            <a:t>dan</a:t>
          </a:r>
          <a:r>
            <a:rPr lang="en-US" sz="1800" dirty="0" smtClean="0"/>
            <a:t> JPN </a:t>
          </a:r>
          <a:r>
            <a:rPr lang="en-US" sz="1800" dirty="0" err="1" smtClean="0"/>
            <a:t>dalam</a:t>
          </a:r>
          <a:r>
            <a:rPr lang="en-US" sz="1800" dirty="0" smtClean="0"/>
            <a:t> </a:t>
          </a:r>
          <a:r>
            <a:rPr lang="en-US" sz="1800" dirty="0" err="1" smtClean="0"/>
            <a:t>pelaksanaan</a:t>
          </a:r>
          <a:r>
            <a:rPr lang="en-US" sz="1800" dirty="0" smtClean="0"/>
            <a:t> Program</a:t>
          </a:r>
          <a:endParaRPr lang="en-US" sz="1800" i="1" dirty="0"/>
        </a:p>
      </dgm:t>
    </dgm:pt>
    <dgm:pt modelId="{F977EEAB-356D-4A21-BB6A-3B366A778C5F}" type="parTrans" cxnId="{9861B165-E049-4FD2-8854-D32D6F1B86DD}">
      <dgm:prSet/>
      <dgm:spPr/>
      <dgm:t>
        <a:bodyPr/>
        <a:lstStyle/>
        <a:p>
          <a:endParaRPr lang="en-MY"/>
        </a:p>
      </dgm:t>
    </dgm:pt>
    <dgm:pt modelId="{D2BF92CB-CBF1-4CC1-AB93-8B77E18DABD7}" type="sibTrans" cxnId="{9861B165-E049-4FD2-8854-D32D6F1B86DD}">
      <dgm:prSet/>
      <dgm:spPr/>
      <dgm:t>
        <a:bodyPr/>
        <a:lstStyle/>
        <a:p>
          <a:endParaRPr lang="en-MY"/>
        </a:p>
      </dgm:t>
    </dgm:pt>
    <dgm:pt modelId="{331E014F-9E98-4C8A-8B65-3B9B6A7008B7}">
      <dgm:prSet phldrT="[Text]" custT="1"/>
      <dgm:spPr/>
      <dgm:t>
        <a:bodyPr/>
        <a:lstStyle/>
        <a:p>
          <a:pPr marR="0" eaLnBrk="1" fontAlgn="auto" latinLnBrk="0" hangingPunct="1">
            <a:buClrTx/>
            <a:buSzTx/>
            <a:buFontTx/>
          </a:pPr>
          <a:r>
            <a:rPr lang="en-US" sz="1800" dirty="0" smtClean="0"/>
            <a:t> </a:t>
          </a:r>
          <a:r>
            <a:rPr lang="en-US" sz="1800" dirty="0" err="1" smtClean="0"/>
            <a:t>Memastikan</a:t>
          </a:r>
          <a:r>
            <a:rPr lang="en-US" sz="1800" dirty="0" smtClean="0"/>
            <a:t> </a:t>
          </a:r>
          <a:r>
            <a:rPr lang="en-US" sz="1800" b="1" dirty="0" err="1" smtClean="0"/>
            <a:t>Pegawai</a:t>
          </a:r>
          <a:r>
            <a:rPr lang="en-US" sz="1800" b="1" dirty="0" smtClean="0"/>
            <a:t> SISC+ </a:t>
          </a:r>
          <a:r>
            <a:rPr lang="en-US" sz="1800" dirty="0" err="1" smtClean="0"/>
            <a:t>memahami</a:t>
          </a:r>
          <a:r>
            <a:rPr lang="en-US" sz="1800" dirty="0" smtClean="0"/>
            <a:t> </a:t>
          </a:r>
          <a:r>
            <a:rPr lang="en-US" sz="1800" dirty="0" err="1" smtClean="0"/>
            <a:t>dan</a:t>
          </a:r>
          <a:r>
            <a:rPr lang="en-US" sz="1800" dirty="0" smtClean="0"/>
            <a:t> </a:t>
          </a:r>
          <a:r>
            <a:rPr lang="en-US" sz="1800" dirty="0" err="1" smtClean="0"/>
            <a:t>mengetahui</a:t>
          </a:r>
          <a:r>
            <a:rPr lang="en-US" sz="1800" dirty="0" smtClean="0"/>
            <a:t> </a:t>
          </a:r>
          <a:r>
            <a:rPr lang="en-US" sz="1800" dirty="0" err="1" smtClean="0"/>
            <a:t>konteks</a:t>
          </a:r>
          <a:r>
            <a:rPr lang="en-US" sz="1800" dirty="0" smtClean="0"/>
            <a:t> PLC </a:t>
          </a:r>
          <a:r>
            <a:rPr lang="en-US" sz="1800" dirty="0" err="1" smtClean="0"/>
            <a:t>dalam</a:t>
          </a:r>
          <a:r>
            <a:rPr lang="en-US" sz="1800" dirty="0" smtClean="0"/>
            <a:t> </a:t>
          </a:r>
          <a:r>
            <a:rPr lang="en-US" sz="1800" dirty="0" err="1" smtClean="0"/>
            <a:t>membantu</a:t>
          </a:r>
          <a:r>
            <a:rPr lang="en-US" sz="1800" dirty="0" smtClean="0"/>
            <a:t> </a:t>
          </a:r>
          <a:r>
            <a:rPr lang="en-US" sz="1800" dirty="0" err="1" smtClean="0"/>
            <a:t>sekolah</a:t>
          </a:r>
          <a:endParaRPr lang="en-US" sz="1800" dirty="0" smtClean="0"/>
        </a:p>
      </dgm:t>
    </dgm:pt>
    <dgm:pt modelId="{AE1DF751-FE57-4812-A275-E91AC3CB0951}" type="parTrans" cxnId="{CDA84833-4947-4D59-9645-FAC4F1112EF6}">
      <dgm:prSet/>
      <dgm:spPr/>
      <dgm:t>
        <a:bodyPr/>
        <a:lstStyle/>
        <a:p>
          <a:endParaRPr lang="en-MY"/>
        </a:p>
      </dgm:t>
    </dgm:pt>
    <dgm:pt modelId="{013A8737-D609-4859-AE70-59260722BDA5}" type="sibTrans" cxnId="{CDA84833-4947-4D59-9645-FAC4F1112EF6}">
      <dgm:prSet/>
      <dgm:spPr/>
      <dgm:t>
        <a:bodyPr/>
        <a:lstStyle/>
        <a:p>
          <a:endParaRPr lang="en-MY"/>
        </a:p>
      </dgm:t>
    </dgm:pt>
    <dgm:pt modelId="{F73DC88D-D852-40DB-9352-1EF83539E3DD}">
      <dgm:prSet phldrT="[Text]" custT="1"/>
      <dgm:spPr/>
      <dgm:t>
        <a:bodyPr/>
        <a:lstStyle/>
        <a:p>
          <a:r>
            <a:rPr lang="en-US" sz="1800" dirty="0" err="1" smtClean="0"/>
            <a:t>Memahami</a:t>
          </a:r>
          <a:r>
            <a:rPr lang="en-US" sz="1800" dirty="0" smtClean="0"/>
            <a:t> </a:t>
          </a:r>
          <a:r>
            <a:rPr lang="en-US" sz="1800" dirty="0" err="1" smtClean="0"/>
            <a:t>Konsep</a:t>
          </a:r>
          <a:r>
            <a:rPr lang="en-US" sz="1800" dirty="0" smtClean="0"/>
            <a:t> PLC.</a:t>
          </a:r>
          <a:endParaRPr lang="en-US" sz="1800" dirty="0"/>
        </a:p>
      </dgm:t>
    </dgm:pt>
    <dgm:pt modelId="{7E19DE89-D027-49BC-BAAD-2763E4DB9BD0}" type="parTrans" cxnId="{CDC7F67E-FD3E-49B9-8CC4-A4073B3D90DE}">
      <dgm:prSet/>
      <dgm:spPr/>
      <dgm:t>
        <a:bodyPr/>
        <a:lstStyle/>
        <a:p>
          <a:endParaRPr lang="en-MY"/>
        </a:p>
      </dgm:t>
    </dgm:pt>
    <dgm:pt modelId="{F7701C66-B2AC-4106-AF76-693E36B74328}" type="sibTrans" cxnId="{CDC7F67E-FD3E-49B9-8CC4-A4073B3D90DE}">
      <dgm:prSet/>
      <dgm:spPr/>
      <dgm:t>
        <a:bodyPr/>
        <a:lstStyle/>
        <a:p>
          <a:endParaRPr lang="en-MY"/>
        </a:p>
      </dgm:t>
    </dgm:pt>
    <dgm:pt modelId="{BE3AF90B-65E5-4E86-A1A5-21BAEA427397}">
      <dgm:prSet phldrT="[Text]" custT="1"/>
      <dgm:spPr/>
      <dgm:t>
        <a:bodyPr/>
        <a:lstStyle/>
        <a:p>
          <a:r>
            <a:rPr lang="en-US" sz="1800" dirty="0" err="1" smtClean="0"/>
            <a:t>Memastikan</a:t>
          </a:r>
          <a:r>
            <a:rPr lang="en-US" sz="1800" dirty="0" smtClean="0"/>
            <a:t> program PLC</a:t>
          </a:r>
          <a:r>
            <a:rPr lang="en-US" sz="1800" i="1" dirty="0" smtClean="0"/>
            <a:t> </a:t>
          </a:r>
          <a:r>
            <a:rPr lang="en-US" sz="1800" dirty="0" err="1" smtClean="0"/>
            <a:t>dijalankan</a:t>
          </a:r>
          <a:r>
            <a:rPr lang="en-US" sz="1800" dirty="0" smtClean="0"/>
            <a:t> </a:t>
          </a:r>
          <a:r>
            <a:rPr lang="en-US" sz="1800" dirty="0" err="1" smtClean="0"/>
            <a:t>oleh</a:t>
          </a:r>
          <a:r>
            <a:rPr lang="en-US" sz="1800" dirty="0" smtClean="0"/>
            <a:t> </a:t>
          </a:r>
          <a:r>
            <a:rPr lang="en-US" sz="1800" dirty="0" err="1" smtClean="0"/>
            <a:t>sekolah</a:t>
          </a:r>
          <a:r>
            <a:rPr lang="en-US" sz="1800" dirty="0" smtClean="0"/>
            <a:t> yang </a:t>
          </a:r>
          <a:r>
            <a:rPr lang="en-US" sz="1800" dirty="0" err="1" smtClean="0"/>
            <a:t>berkenaan</a:t>
          </a:r>
          <a:r>
            <a:rPr lang="en-US" sz="1800" dirty="0" smtClean="0"/>
            <a:t> </a:t>
          </a:r>
          <a:r>
            <a:rPr lang="en-US" sz="1800" dirty="0" err="1" smtClean="0"/>
            <a:t>dan</a:t>
          </a:r>
          <a:r>
            <a:rPr lang="en-US" sz="1800" dirty="0" smtClean="0"/>
            <a:t> </a:t>
          </a:r>
          <a:r>
            <a:rPr lang="en-US" sz="1800" dirty="0" err="1" smtClean="0"/>
            <a:t>dipantau</a:t>
          </a:r>
          <a:r>
            <a:rPr lang="en-US" sz="1800" dirty="0" smtClean="0"/>
            <a:t> </a:t>
          </a:r>
          <a:r>
            <a:rPr lang="en-US" sz="1800" dirty="0" err="1" smtClean="0"/>
            <a:t>oleh</a:t>
          </a:r>
          <a:r>
            <a:rPr lang="en-US" sz="1800" dirty="0" smtClean="0"/>
            <a:t> PPD</a:t>
          </a:r>
          <a:endParaRPr lang="en-US" sz="1800" dirty="0"/>
        </a:p>
      </dgm:t>
    </dgm:pt>
    <dgm:pt modelId="{9398C938-ACDC-49C6-80F6-109990872D8E}" type="parTrans" cxnId="{38872FA3-E069-48C3-9B97-F3C2E0DDC994}">
      <dgm:prSet/>
      <dgm:spPr/>
      <dgm:t>
        <a:bodyPr/>
        <a:lstStyle/>
        <a:p>
          <a:endParaRPr lang="en-US"/>
        </a:p>
      </dgm:t>
    </dgm:pt>
    <dgm:pt modelId="{8E690511-9B0D-45A9-A823-B59F8BE73046}" type="sibTrans" cxnId="{38872FA3-E069-48C3-9B97-F3C2E0DDC994}">
      <dgm:prSet/>
      <dgm:spPr/>
      <dgm:t>
        <a:bodyPr/>
        <a:lstStyle/>
        <a:p>
          <a:endParaRPr lang="en-US"/>
        </a:p>
      </dgm:t>
    </dgm:pt>
    <dgm:pt modelId="{2DE43950-7D45-401D-ACBC-3D522E949664}">
      <dgm:prSet phldrT="[Text]" custT="1"/>
      <dgm:spPr/>
      <dgm:t>
        <a:bodyPr/>
        <a:lstStyle/>
        <a:p>
          <a:r>
            <a:rPr lang="en-US" sz="1800" dirty="0" err="1" smtClean="0"/>
            <a:t>Memberi</a:t>
          </a:r>
          <a:r>
            <a:rPr lang="en-US" sz="1800" dirty="0" smtClean="0"/>
            <a:t> </a:t>
          </a:r>
          <a:r>
            <a:rPr lang="en-US" sz="1800" dirty="0" err="1" smtClean="0"/>
            <a:t>khidmat</a:t>
          </a:r>
          <a:r>
            <a:rPr lang="en-US" sz="1800" dirty="0" smtClean="0"/>
            <a:t> </a:t>
          </a:r>
          <a:r>
            <a:rPr lang="en-US" sz="1800" dirty="0" err="1" smtClean="0"/>
            <a:t>pengetahuan</a:t>
          </a:r>
          <a:r>
            <a:rPr lang="en-US" sz="1800" dirty="0" smtClean="0"/>
            <a:t> </a:t>
          </a:r>
          <a:r>
            <a:rPr lang="en-US" sz="1800" dirty="0" err="1" smtClean="0"/>
            <a:t>dan</a:t>
          </a:r>
          <a:r>
            <a:rPr lang="en-US" sz="1800" dirty="0" smtClean="0"/>
            <a:t> </a:t>
          </a:r>
          <a:r>
            <a:rPr lang="en-US" sz="1800" dirty="0" err="1" smtClean="0"/>
            <a:t>pengalaman</a:t>
          </a:r>
          <a:r>
            <a:rPr lang="en-US" sz="1800" dirty="0" smtClean="0"/>
            <a:t> </a:t>
          </a:r>
          <a:r>
            <a:rPr lang="en-US" sz="1800" dirty="0" err="1" smtClean="0"/>
            <a:t>dalam</a:t>
          </a:r>
          <a:r>
            <a:rPr lang="en-US" sz="1800" dirty="0" smtClean="0"/>
            <a:t> </a:t>
          </a:r>
          <a:r>
            <a:rPr lang="en-US" sz="1800" dirty="0" err="1" smtClean="0"/>
            <a:t>PdP</a:t>
          </a:r>
          <a:r>
            <a:rPr lang="en-US" sz="1800" dirty="0" smtClean="0"/>
            <a:t> yang </a:t>
          </a:r>
          <a:r>
            <a:rPr lang="en-US" sz="1800" dirty="0" err="1" smtClean="0"/>
            <a:t>berkesan</a:t>
          </a:r>
          <a:r>
            <a:rPr lang="en-US" sz="1800" dirty="0" smtClean="0"/>
            <a:t> </a:t>
          </a:r>
          <a:r>
            <a:rPr lang="en-US" sz="1800" dirty="0" err="1" smtClean="0"/>
            <a:t>kepada</a:t>
          </a:r>
          <a:r>
            <a:rPr lang="en-US" sz="1800" dirty="0" smtClean="0"/>
            <a:t> guru.</a:t>
          </a:r>
          <a:endParaRPr lang="en-US" sz="1800" dirty="0"/>
        </a:p>
      </dgm:t>
    </dgm:pt>
    <dgm:pt modelId="{E247CFA1-7EF7-46E7-B24E-AC2825DF90A1}" type="parTrans" cxnId="{AF73A0EC-BFF2-4C83-AB54-C03F09C024C0}">
      <dgm:prSet/>
      <dgm:spPr/>
      <dgm:t>
        <a:bodyPr/>
        <a:lstStyle/>
        <a:p>
          <a:endParaRPr lang="en-US"/>
        </a:p>
      </dgm:t>
    </dgm:pt>
    <dgm:pt modelId="{C5622E15-2055-4C42-93A4-A7CC17DE8B19}" type="sibTrans" cxnId="{AF73A0EC-BFF2-4C83-AB54-C03F09C024C0}">
      <dgm:prSet/>
      <dgm:spPr/>
      <dgm:t>
        <a:bodyPr/>
        <a:lstStyle/>
        <a:p>
          <a:endParaRPr lang="en-US"/>
        </a:p>
      </dgm:t>
    </dgm:pt>
    <dgm:pt modelId="{59D50702-9ACB-4DD2-B078-DA1E910D0CB9}">
      <dgm:prSet phldrT="[Text]" custT="1"/>
      <dgm:spPr/>
      <dgm:t>
        <a:bodyPr/>
        <a:lstStyle/>
        <a:p>
          <a:pPr marR="0" eaLnBrk="1" fontAlgn="auto" latinLnBrk="0" hangingPunct="1">
            <a:buClrTx/>
            <a:buSzTx/>
            <a:buFontTx/>
          </a:pPr>
          <a:r>
            <a:rPr lang="en-US" sz="1800" dirty="0" err="1" smtClean="0"/>
            <a:t>Memantau</a:t>
          </a:r>
          <a:r>
            <a:rPr lang="en-US" sz="1800" dirty="0" smtClean="0"/>
            <a:t> </a:t>
          </a:r>
          <a:r>
            <a:rPr lang="en-US" sz="1800" dirty="0" err="1" smtClean="0"/>
            <a:t>pelaksanaan</a:t>
          </a:r>
          <a:r>
            <a:rPr lang="en-US" sz="1800" dirty="0" smtClean="0"/>
            <a:t> program </a:t>
          </a:r>
          <a:r>
            <a:rPr lang="en-US" sz="1800" dirty="0" err="1" smtClean="0"/>
            <a:t>dan</a:t>
          </a:r>
          <a:r>
            <a:rPr lang="en-US" sz="1800" dirty="0" smtClean="0"/>
            <a:t> </a:t>
          </a:r>
          <a:r>
            <a:rPr lang="en-US" sz="1800" dirty="0" err="1" smtClean="0"/>
            <a:t>memberi</a:t>
          </a:r>
          <a:r>
            <a:rPr lang="en-US" sz="1800" dirty="0" smtClean="0"/>
            <a:t> </a:t>
          </a:r>
          <a:r>
            <a:rPr lang="en-US" sz="1800" dirty="0" err="1" smtClean="0"/>
            <a:t>bimbingan</a:t>
          </a:r>
          <a:r>
            <a:rPr lang="en-US" sz="1800" dirty="0" smtClean="0"/>
            <a:t> </a:t>
          </a:r>
          <a:endParaRPr lang="en-US" sz="1800" i="1" dirty="0"/>
        </a:p>
      </dgm:t>
    </dgm:pt>
    <dgm:pt modelId="{FBC0AD5E-A5AA-4D1A-881C-F325F2B6601F}" type="parTrans" cxnId="{B5106C6A-00A6-4797-830A-7677D622D996}">
      <dgm:prSet/>
      <dgm:spPr/>
    </dgm:pt>
    <dgm:pt modelId="{7BACF8AC-995B-49E4-85CD-DDD1A09966B2}" type="sibTrans" cxnId="{B5106C6A-00A6-4797-830A-7677D622D996}">
      <dgm:prSet/>
      <dgm:spPr/>
    </dgm:pt>
    <dgm:pt modelId="{2341B45A-4427-4181-B15D-953A65559CC3}">
      <dgm:prSet phldrT="[Text]" custT="1"/>
      <dgm:spPr/>
      <dgm:t>
        <a:bodyPr/>
        <a:lstStyle/>
        <a:p>
          <a:r>
            <a:rPr lang="en-US" sz="1800" dirty="0" smtClean="0"/>
            <a:t> </a:t>
          </a:r>
          <a:r>
            <a:rPr lang="en-US" sz="1800" dirty="0" err="1" smtClean="0"/>
            <a:t>Memastikan</a:t>
          </a:r>
          <a:r>
            <a:rPr lang="en-US" sz="1800" dirty="0" smtClean="0"/>
            <a:t> </a:t>
          </a:r>
          <a:r>
            <a:rPr lang="en-US" sz="1800" dirty="0" err="1" smtClean="0"/>
            <a:t>pelaksanaan</a:t>
          </a:r>
          <a:r>
            <a:rPr lang="en-US" sz="1800" dirty="0" smtClean="0"/>
            <a:t>, </a:t>
          </a:r>
          <a:r>
            <a:rPr lang="en-US" sz="1800" dirty="0" err="1" smtClean="0"/>
            <a:t>penglibatan</a:t>
          </a:r>
          <a:r>
            <a:rPr lang="en-US" sz="1800" dirty="0" smtClean="0"/>
            <a:t>, </a:t>
          </a:r>
          <a:r>
            <a:rPr lang="en-US" sz="1800" dirty="0" err="1" smtClean="0"/>
            <a:t>dan</a:t>
          </a:r>
          <a:r>
            <a:rPr lang="en-US" sz="1800" dirty="0" smtClean="0"/>
            <a:t>  </a:t>
          </a:r>
          <a:r>
            <a:rPr lang="en-US" sz="1800" dirty="0" err="1" smtClean="0"/>
            <a:t>penilaian</a:t>
          </a:r>
          <a:r>
            <a:rPr lang="en-US" sz="1800" dirty="0" smtClean="0"/>
            <a:t> </a:t>
          </a:r>
          <a:r>
            <a:rPr lang="en-US" sz="1800" dirty="0" err="1" smtClean="0"/>
            <a:t>keberkesanan</a:t>
          </a:r>
          <a:r>
            <a:rPr lang="en-US" sz="1800" dirty="0" smtClean="0"/>
            <a:t> program PLC</a:t>
          </a:r>
          <a:r>
            <a:rPr lang="en-US" sz="1800" i="1" dirty="0" smtClean="0"/>
            <a:t> </a:t>
          </a:r>
          <a:r>
            <a:rPr lang="en-US" sz="1800" dirty="0" err="1" smtClean="0"/>
            <a:t>di</a:t>
          </a:r>
          <a:r>
            <a:rPr lang="en-US" sz="1800" dirty="0" smtClean="0"/>
            <a:t> </a:t>
          </a:r>
          <a:r>
            <a:rPr lang="en-US" sz="1800" dirty="0" err="1" smtClean="0"/>
            <a:t>peringkat</a:t>
          </a:r>
          <a:r>
            <a:rPr lang="en-US" sz="1800" dirty="0" smtClean="0"/>
            <a:t> </a:t>
          </a:r>
          <a:r>
            <a:rPr lang="en-US" sz="1800" dirty="0" err="1" smtClean="0"/>
            <a:t>sekolah</a:t>
          </a:r>
          <a:endParaRPr lang="en-US" sz="1800" dirty="0"/>
        </a:p>
      </dgm:t>
    </dgm:pt>
    <dgm:pt modelId="{768B3570-BBF2-4A8F-9A1F-3A74A6A1EFA7}" type="parTrans" cxnId="{9E403260-21F7-4E90-85A4-15E79F0DB223}">
      <dgm:prSet/>
      <dgm:spPr/>
    </dgm:pt>
    <dgm:pt modelId="{E114B98F-26B3-487E-8F83-A357F2F1F550}" type="sibTrans" cxnId="{9E403260-21F7-4E90-85A4-15E79F0DB223}">
      <dgm:prSet/>
      <dgm:spPr/>
    </dgm:pt>
    <dgm:pt modelId="{5774D088-2B62-4AD4-8FAB-8F67D49A07AF}">
      <dgm:prSet phldrT="[Text]" custT="1"/>
      <dgm:spPr/>
      <dgm:t>
        <a:bodyPr/>
        <a:lstStyle/>
        <a:p>
          <a:r>
            <a:rPr lang="en-US" sz="1800" dirty="0" err="1" smtClean="0"/>
            <a:t>Membudayakan</a:t>
          </a:r>
          <a:r>
            <a:rPr lang="en-US" sz="1800" dirty="0" smtClean="0"/>
            <a:t> PLC </a:t>
          </a:r>
          <a:r>
            <a:rPr lang="en-US" sz="1800" dirty="0" err="1" smtClean="0"/>
            <a:t>di</a:t>
          </a:r>
          <a:r>
            <a:rPr lang="en-US" sz="1800" dirty="0" smtClean="0"/>
            <a:t> </a:t>
          </a:r>
          <a:r>
            <a:rPr lang="en-US" sz="1800" dirty="0" err="1" smtClean="0"/>
            <a:t>sekolah</a:t>
          </a:r>
          <a:r>
            <a:rPr lang="en-US" sz="1800" dirty="0" smtClean="0"/>
            <a:t>.</a:t>
          </a:r>
          <a:endParaRPr lang="en-US" sz="1800" dirty="0"/>
        </a:p>
      </dgm:t>
    </dgm:pt>
    <dgm:pt modelId="{6B7AD5DD-EC9B-4564-A488-079B1C06A9A3}" type="parTrans" cxnId="{39D829D9-1925-4290-87FE-416319A444CE}">
      <dgm:prSet/>
      <dgm:spPr/>
    </dgm:pt>
    <dgm:pt modelId="{2160B803-31A2-49DB-A8C5-7ACEC7F11B4A}" type="sibTrans" cxnId="{39D829D9-1925-4290-87FE-416319A444CE}">
      <dgm:prSet/>
      <dgm:spPr/>
    </dgm:pt>
    <dgm:pt modelId="{A64C629D-B3D2-4FF4-95DA-BE22B4699FB4}">
      <dgm:prSet phldrT="[Text]" custT="1"/>
      <dgm:spPr/>
      <dgm:t>
        <a:bodyPr/>
        <a:lstStyle/>
        <a:p>
          <a:r>
            <a:rPr lang="en-US" sz="1800" dirty="0" err="1" smtClean="0"/>
            <a:t>Memasukkan</a:t>
          </a:r>
          <a:r>
            <a:rPr lang="en-US" sz="1800" dirty="0" smtClean="0"/>
            <a:t> program PLC </a:t>
          </a:r>
          <a:r>
            <a:rPr lang="en-US" sz="1800" dirty="0" err="1" smtClean="0"/>
            <a:t>di</a:t>
          </a:r>
          <a:r>
            <a:rPr lang="en-US" sz="1800" dirty="0" smtClean="0"/>
            <a:t> </a:t>
          </a:r>
          <a:r>
            <a:rPr lang="en-US" sz="1800" dirty="0" err="1" smtClean="0"/>
            <a:t>dalam</a:t>
          </a:r>
          <a:r>
            <a:rPr lang="en-US" sz="1800" dirty="0" smtClean="0"/>
            <a:t> </a:t>
          </a:r>
          <a:r>
            <a:rPr lang="en-US" sz="1800" dirty="0" err="1" smtClean="0"/>
            <a:t>takwim</a:t>
          </a:r>
          <a:r>
            <a:rPr lang="en-US" sz="1800" dirty="0" smtClean="0"/>
            <a:t> </a:t>
          </a:r>
          <a:r>
            <a:rPr lang="en-US" sz="1800" dirty="0" err="1" smtClean="0"/>
            <a:t>sekolah</a:t>
          </a:r>
          <a:r>
            <a:rPr lang="en-US" sz="1800" dirty="0" smtClean="0"/>
            <a:t>.</a:t>
          </a:r>
          <a:endParaRPr lang="en-US" sz="1800" dirty="0"/>
        </a:p>
      </dgm:t>
    </dgm:pt>
    <dgm:pt modelId="{82979452-D7F2-471D-9C2C-A86C9767B12C}" type="parTrans" cxnId="{15F42AB1-D352-4DC6-BD63-C53C446874D4}">
      <dgm:prSet/>
      <dgm:spPr/>
    </dgm:pt>
    <dgm:pt modelId="{B19E1AC9-7CE0-49C8-BDF1-04DE1148046D}" type="sibTrans" cxnId="{15F42AB1-D352-4DC6-BD63-C53C446874D4}">
      <dgm:prSet/>
      <dgm:spPr/>
    </dgm:pt>
    <dgm:pt modelId="{9307BFC3-4CBC-418B-B9B1-C6733EE8BDF7}" type="pres">
      <dgm:prSet presAssocID="{8EFDD57F-1443-4DF8-8C34-FB75EF381E92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42D2749-E9F7-4C01-AA09-1F73A489C4BC}" type="pres">
      <dgm:prSet presAssocID="{F0B8BE8B-E200-4FEA-99DE-9DF02A56A1D8}" presName="linNode" presStyleCnt="0"/>
      <dgm:spPr/>
    </dgm:pt>
    <dgm:pt modelId="{A0770E37-46AE-4DC4-9497-4A509AD1A41A}" type="pres">
      <dgm:prSet presAssocID="{F0B8BE8B-E200-4FEA-99DE-9DF02A56A1D8}" presName="parentText" presStyleLbl="node1" presStyleIdx="0" presStyleCnt="3" custScaleX="78978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DE3A39E-FACA-473B-90CE-A3F224621484}" type="pres">
      <dgm:prSet presAssocID="{F0B8BE8B-E200-4FEA-99DE-9DF02A56A1D8}" presName="descendantText" presStyleLbl="alignAccFollowNode1" presStyleIdx="0" presStyleCnt="3" custScaleX="110496" custScaleY="129756" custLinFactNeighborX="3216" custLinFactNeighborY="-25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3ACBBE2-60DA-411B-BA77-ABFDF6885687}" type="pres">
      <dgm:prSet presAssocID="{6FC5ABF5-5674-4BDD-ACCF-54D4F05476B0}" presName="sp" presStyleCnt="0"/>
      <dgm:spPr/>
    </dgm:pt>
    <dgm:pt modelId="{E2A09FA7-DE78-4999-A995-D39F0C0C3FA4}" type="pres">
      <dgm:prSet presAssocID="{C2969FEC-F1E6-43F5-B999-BCD8CEAB948E}" presName="linNode" presStyleCnt="0"/>
      <dgm:spPr/>
    </dgm:pt>
    <dgm:pt modelId="{6070943C-8367-460F-92F5-9FA221DAB6EE}" type="pres">
      <dgm:prSet presAssocID="{C2969FEC-F1E6-43F5-B999-BCD8CEAB948E}" presName="parentText" presStyleLbl="node1" presStyleIdx="1" presStyleCnt="3" custScaleX="78978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141AC2D-1145-4814-9CD6-D6EAA09B9B35}" type="pres">
      <dgm:prSet presAssocID="{C2969FEC-F1E6-43F5-B999-BCD8CEAB948E}" presName="descendantText" presStyleLbl="alignAccFollowNode1" presStyleIdx="1" presStyleCnt="3" custScaleX="110496" custScaleY="129756" custLinFactNeighborX="1453" custLinFactNeighborY="322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F0208AA-FAB5-4A4A-A3D3-62766244B464}" type="pres">
      <dgm:prSet presAssocID="{50FDA752-5A0C-40C0-AB44-7893FCB2A546}" presName="sp" presStyleCnt="0"/>
      <dgm:spPr/>
    </dgm:pt>
    <dgm:pt modelId="{BDF6DF06-ECAC-4AAC-9530-77B4D4862C54}" type="pres">
      <dgm:prSet presAssocID="{9E1D5265-E3AB-42FE-82B0-FA10DDF7DBF5}" presName="linNode" presStyleCnt="0"/>
      <dgm:spPr/>
    </dgm:pt>
    <dgm:pt modelId="{1FB1C08C-792C-4EDA-8391-D8E338DC26E3}" type="pres">
      <dgm:prSet presAssocID="{9E1D5265-E3AB-42FE-82B0-FA10DDF7DBF5}" presName="parentText" presStyleLbl="node1" presStyleIdx="2" presStyleCnt="3" custScaleX="78963">
        <dgm:presLayoutVars>
          <dgm:chMax val="1"/>
          <dgm:bulletEnabled val="1"/>
        </dgm:presLayoutVars>
      </dgm:prSet>
      <dgm:spPr/>
      <dgm:t>
        <a:bodyPr/>
        <a:lstStyle/>
        <a:p>
          <a:endParaRPr lang="en-MY"/>
        </a:p>
      </dgm:t>
    </dgm:pt>
    <dgm:pt modelId="{00538B4B-2C68-487B-B6A3-0F36525F50FE}" type="pres">
      <dgm:prSet presAssocID="{9E1D5265-E3AB-42FE-82B0-FA10DDF7DBF5}" presName="descendantText" presStyleLbl="alignAccFollowNode1" presStyleIdx="2" presStyleCnt="3" custScaleX="108446" custScaleY="114453" custLinFactNeighborX="2069" custLinFactNeighborY="1317">
        <dgm:presLayoutVars>
          <dgm:bulletEnabled val="1"/>
        </dgm:presLayoutVars>
      </dgm:prSet>
      <dgm:spPr/>
      <dgm:t>
        <a:bodyPr/>
        <a:lstStyle/>
        <a:p>
          <a:endParaRPr lang="en-MY"/>
        </a:p>
      </dgm:t>
    </dgm:pt>
  </dgm:ptLst>
  <dgm:cxnLst>
    <dgm:cxn modelId="{03F5CA3C-2D0C-426D-A8B4-93A8FB0823C8}" type="presOf" srcId="{2DE43950-7D45-401D-ACBC-3D522E949664}" destId="{7DE3A39E-FACA-473B-90CE-A3F224621484}" srcOrd="0" destOrd="2" presId="urn:microsoft.com/office/officeart/2005/8/layout/vList5"/>
    <dgm:cxn modelId="{E3D7CB75-344E-4BFE-B530-1BD5956D046E}" srcId="{8EFDD57F-1443-4DF8-8C34-FB75EF381E92}" destId="{C2969FEC-F1E6-43F5-B999-BCD8CEAB948E}" srcOrd="1" destOrd="0" parTransId="{42251BD9-BA70-42D2-B40C-55F96F39D91A}" sibTransId="{50FDA752-5A0C-40C0-AB44-7893FCB2A546}"/>
    <dgm:cxn modelId="{CDC7F67E-FD3E-49B9-8CC4-A4073B3D90DE}" srcId="{9E1D5265-E3AB-42FE-82B0-FA10DDF7DBF5}" destId="{F73DC88D-D852-40DB-9352-1EF83539E3DD}" srcOrd="0" destOrd="0" parTransId="{7E19DE89-D027-49BC-BAAD-2763E4DB9BD0}" sibTransId="{F7701C66-B2AC-4106-AF76-693E36B74328}"/>
    <dgm:cxn modelId="{9E62AF0C-57CF-47C7-809F-F602085F23CF}" type="presOf" srcId="{59D50702-9ACB-4DD2-B078-DA1E910D0CB9}" destId="{9141AC2D-1145-4814-9CD6-D6EAA09B9B35}" srcOrd="0" destOrd="2" presId="urn:microsoft.com/office/officeart/2005/8/layout/vList5"/>
    <dgm:cxn modelId="{F01603A5-AA42-47B1-8B7A-2DAD8101E803}" type="presOf" srcId="{8EFDD57F-1443-4DF8-8C34-FB75EF381E92}" destId="{9307BFC3-4CBC-418B-B9B1-C6733EE8BDF7}" srcOrd="0" destOrd="0" presId="urn:microsoft.com/office/officeart/2005/8/layout/vList5"/>
    <dgm:cxn modelId="{38872FA3-E069-48C3-9B97-F3C2E0DDC994}" srcId="{F0B8BE8B-E200-4FEA-99DE-9DF02A56A1D8}" destId="{BE3AF90B-65E5-4E86-A1A5-21BAEA427397}" srcOrd="1" destOrd="0" parTransId="{9398C938-ACDC-49C6-80F6-109990872D8E}" sibTransId="{8E690511-9B0D-45A9-A823-B59F8BE73046}"/>
    <dgm:cxn modelId="{5AFD51DD-D4CB-4247-B5DA-0D761C2CB8E2}" srcId="{8EFDD57F-1443-4DF8-8C34-FB75EF381E92}" destId="{F0B8BE8B-E200-4FEA-99DE-9DF02A56A1D8}" srcOrd="0" destOrd="0" parTransId="{E531F436-DE1B-4147-A2CD-A839C5DBA928}" sibTransId="{6FC5ABF5-5674-4BDD-ACCF-54D4F05476B0}"/>
    <dgm:cxn modelId="{C714A6A0-A977-44DF-9B40-EDE217548EE8}" type="presOf" srcId="{7638B88D-7FC1-4991-AC90-5DA394DFED8D}" destId="{9141AC2D-1145-4814-9CD6-D6EAA09B9B35}" srcOrd="0" destOrd="1" presId="urn:microsoft.com/office/officeart/2005/8/layout/vList5"/>
    <dgm:cxn modelId="{39D829D9-1925-4290-87FE-416319A444CE}" srcId="{9E1D5265-E3AB-42FE-82B0-FA10DDF7DBF5}" destId="{5774D088-2B62-4AD4-8FAB-8F67D49A07AF}" srcOrd="1" destOrd="0" parTransId="{6B7AD5DD-EC9B-4564-A488-079B1C06A9A3}" sibTransId="{2160B803-31A2-49DB-A8C5-7ACEC7F11B4A}"/>
    <dgm:cxn modelId="{826C0646-0DE4-4942-B036-CE2B179E2845}" type="presOf" srcId="{F73DC88D-D852-40DB-9352-1EF83539E3DD}" destId="{00538B4B-2C68-487B-B6A3-0F36525F50FE}" srcOrd="0" destOrd="0" presId="urn:microsoft.com/office/officeart/2005/8/layout/vList5"/>
    <dgm:cxn modelId="{87175F70-F6D0-4EDA-A132-0DBF88B9A802}" srcId="{F0B8BE8B-E200-4FEA-99DE-9DF02A56A1D8}" destId="{0BFD9C13-C1B2-4BEF-9185-1E0D68C619EE}" srcOrd="0" destOrd="0" parTransId="{13929696-0AC9-4996-9086-F0D0D38BEE15}" sibTransId="{4044E98C-FBC9-46E5-B812-F119F9F08E9B}"/>
    <dgm:cxn modelId="{15F42AB1-D352-4DC6-BD63-C53C446874D4}" srcId="{9E1D5265-E3AB-42FE-82B0-FA10DDF7DBF5}" destId="{A64C629D-B3D2-4FF4-95DA-BE22B4699FB4}" srcOrd="2" destOrd="0" parTransId="{82979452-D7F2-471D-9C2C-A86C9767B12C}" sibTransId="{B19E1AC9-7CE0-49C8-BDF1-04DE1148046D}"/>
    <dgm:cxn modelId="{9861B165-E049-4FD2-8854-D32D6F1B86DD}" srcId="{C2969FEC-F1E6-43F5-B999-BCD8CEAB948E}" destId="{7638B88D-7FC1-4991-AC90-5DA394DFED8D}" srcOrd="1" destOrd="0" parTransId="{F977EEAB-356D-4A21-BB6A-3B366A778C5F}" sibTransId="{D2BF92CB-CBF1-4CC1-AB93-8B77E18DABD7}"/>
    <dgm:cxn modelId="{DFFC8CB4-C269-4CA1-853A-FA1F8BF84BEC}" srcId="{8EFDD57F-1443-4DF8-8C34-FB75EF381E92}" destId="{9E1D5265-E3AB-42FE-82B0-FA10DDF7DBF5}" srcOrd="2" destOrd="0" parTransId="{F3203BDD-1389-475A-99EA-8CD9F4EFDDEE}" sibTransId="{DF97C0E4-B299-4B94-822B-869B9D2607FF}"/>
    <dgm:cxn modelId="{6AE149D4-CCFC-4824-B0EC-B2CAF9E36081}" type="presOf" srcId="{A64C629D-B3D2-4FF4-95DA-BE22B4699FB4}" destId="{00538B4B-2C68-487B-B6A3-0F36525F50FE}" srcOrd="0" destOrd="2" presId="urn:microsoft.com/office/officeart/2005/8/layout/vList5"/>
    <dgm:cxn modelId="{B5106C6A-00A6-4797-830A-7677D622D996}" srcId="{C2969FEC-F1E6-43F5-B999-BCD8CEAB948E}" destId="{59D50702-9ACB-4DD2-B078-DA1E910D0CB9}" srcOrd="2" destOrd="0" parTransId="{FBC0AD5E-A5AA-4D1A-881C-F325F2B6601F}" sibTransId="{7BACF8AC-995B-49E4-85CD-DDD1A09966B2}"/>
    <dgm:cxn modelId="{F769CDAD-8D4E-4F24-A4D8-60D1911E971D}" type="presOf" srcId="{2341B45A-4427-4181-B15D-953A65559CC3}" destId="{00538B4B-2C68-487B-B6A3-0F36525F50FE}" srcOrd="0" destOrd="3" presId="urn:microsoft.com/office/officeart/2005/8/layout/vList5"/>
    <dgm:cxn modelId="{761FE3FC-831C-4018-A394-A751C48A1B06}" type="presOf" srcId="{BE3AF90B-65E5-4E86-A1A5-21BAEA427397}" destId="{7DE3A39E-FACA-473B-90CE-A3F224621484}" srcOrd="0" destOrd="1" presId="urn:microsoft.com/office/officeart/2005/8/layout/vList5"/>
    <dgm:cxn modelId="{F56D96E6-8F6D-4C1D-B138-290F99703F53}" type="presOf" srcId="{C2969FEC-F1E6-43F5-B999-BCD8CEAB948E}" destId="{6070943C-8367-460F-92F5-9FA221DAB6EE}" srcOrd="0" destOrd="0" presId="urn:microsoft.com/office/officeart/2005/8/layout/vList5"/>
    <dgm:cxn modelId="{2A09F360-F555-4DE4-B555-538C20A53246}" type="presOf" srcId="{9E1D5265-E3AB-42FE-82B0-FA10DDF7DBF5}" destId="{1FB1C08C-792C-4EDA-8391-D8E338DC26E3}" srcOrd="0" destOrd="0" presId="urn:microsoft.com/office/officeart/2005/8/layout/vList5"/>
    <dgm:cxn modelId="{73AFC796-4CFB-444C-A5A3-77C8C8883A22}" srcId="{C2969FEC-F1E6-43F5-B999-BCD8CEAB948E}" destId="{3A25E218-A3F4-419B-A99F-A5D3FE657B45}" srcOrd="0" destOrd="0" parTransId="{D004233F-AF88-47FB-8326-E1C4AF227CED}" sibTransId="{316F8FEF-AE83-4990-B8E4-BEFF24633C69}"/>
    <dgm:cxn modelId="{1101F58C-74E4-4F02-8DB4-5D54FD163456}" type="presOf" srcId="{5774D088-2B62-4AD4-8FAB-8F67D49A07AF}" destId="{00538B4B-2C68-487B-B6A3-0F36525F50FE}" srcOrd="0" destOrd="1" presId="urn:microsoft.com/office/officeart/2005/8/layout/vList5"/>
    <dgm:cxn modelId="{CDA84833-4947-4D59-9645-FAC4F1112EF6}" srcId="{C2969FEC-F1E6-43F5-B999-BCD8CEAB948E}" destId="{331E014F-9E98-4C8A-8B65-3B9B6A7008B7}" srcOrd="3" destOrd="0" parTransId="{AE1DF751-FE57-4812-A275-E91AC3CB0951}" sibTransId="{013A8737-D609-4859-AE70-59260722BDA5}"/>
    <dgm:cxn modelId="{E1E5EF0B-F496-4A8B-90D3-F36B156BD195}" type="presOf" srcId="{331E014F-9E98-4C8A-8B65-3B9B6A7008B7}" destId="{9141AC2D-1145-4814-9CD6-D6EAA09B9B35}" srcOrd="0" destOrd="3" presId="urn:microsoft.com/office/officeart/2005/8/layout/vList5"/>
    <dgm:cxn modelId="{21FFED42-444A-4F61-A657-E2EA8E8EA253}" type="presOf" srcId="{3A25E218-A3F4-419B-A99F-A5D3FE657B45}" destId="{9141AC2D-1145-4814-9CD6-D6EAA09B9B35}" srcOrd="0" destOrd="0" presId="urn:microsoft.com/office/officeart/2005/8/layout/vList5"/>
    <dgm:cxn modelId="{8B65D589-3F0A-4159-B220-8DBA8B21404E}" type="presOf" srcId="{0BFD9C13-C1B2-4BEF-9185-1E0D68C619EE}" destId="{7DE3A39E-FACA-473B-90CE-A3F224621484}" srcOrd="0" destOrd="0" presId="urn:microsoft.com/office/officeart/2005/8/layout/vList5"/>
    <dgm:cxn modelId="{9E403260-21F7-4E90-85A4-15E79F0DB223}" srcId="{9E1D5265-E3AB-42FE-82B0-FA10DDF7DBF5}" destId="{2341B45A-4427-4181-B15D-953A65559CC3}" srcOrd="3" destOrd="0" parTransId="{768B3570-BBF2-4A8F-9A1F-3A74A6A1EFA7}" sibTransId="{E114B98F-26B3-487E-8F83-A357F2F1F550}"/>
    <dgm:cxn modelId="{AF73A0EC-BFF2-4C83-AB54-C03F09C024C0}" srcId="{F0B8BE8B-E200-4FEA-99DE-9DF02A56A1D8}" destId="{2DE43950-7D45-401D-ACBC-3D522E949664}" srcOrd="2" destOrd="0" parTransId="{E247CFA1-7EF7-46E7-B24E-AC2825DF90A1}" sibTransId="{C5622E15-2055-4C42-93A4-A7CC17DE8B19}"/>
    <dgm:cxn modelId="{F0AD17F5-0C67-43A5-94D7-1FC3AD1A85E8}" type="presOf" srcId="{F0B8BE8B-E200-4FEA-99DE-9DF02A56A1D8}" destId="{A0770E37-46AE-4DC4-9497-4A509AD1A41A}" srcOrd="0" destOrd="0" presId="urn:microsoft.com/office/officeart/2005/8/layout/vList5"/>
    <dgm:cxn modelId="{8F975C9C-9287-4B41-A5E5-8A5ABDC66027}" type="presParOf" srcId="{9307BFC3-4CBC-418B-B9B1-C6733EE8BDF7}" destId="{F42D2749-E9F7-4C01-AA09-1F73A489C4BC}" srcOrd="0" destOrd="0" presId="urn:microsoft.com/office/officeart/2005/8/layout/vList5"/>
    <dgm:cxn modelId="{C544284B-E9E7-46D1-8239-C004C603FF30}" type="presParOf" srcId="{F42D2749-E9F7-4C01-AA09-1F73A489C4BC}" destId="{A0770E37-46AE-4DC4-9497-4A509AD1A41A}" srcOrd="0" destOrd="0" presId="urn:microsoft.com/office/officeart/2005/8/layout/vList5"/>
    <dgm:cxn modelId="{13B56204-3E50-4A6B-918D-7B06442D4237}" type="presParOf" srcId="{F42D2749-E9F7-4C01-AA09-1F73A489C4BC}" destId="{7DE3A39E-FACA-473B-90CE-A3F224621484}" srcOrd="1" destOrd="0" presId="urn:microsoft.com/office/officeart/2005/8/layout/vList5"/>
    <dgm:cxn modelId="{6B69B1DF-234A-4422-8C56-4313EE93174D}" type="presParOf" srcId="{9307BFC3-4CBC-418B-B9B1-C6733EE8BDF7}" destId="{F3ACBBE2-60DA-411B-BA77-ABFDF6885687}" srcOrd="1" destOrd="0" presId="urn:microsoft.com/office/officeart/2005/8/layout/vList5"/>
    <dgm:cxn modelId="{6B910655-57EC-4D78-B2D4-ECEBBF7C55FE}" type="presParOf" srcId="{9307BFC3-4CBC-418B-B9B1-C6733EE8BDF7}" destId="{E2A09FA7-DE78-4999-A995-D39F0C0C3FA4}" srcOrd="2" destOrd="0" presId="urn:microsoft.com/office/officeart/2005/8/layout/vList5"/>
    <dgm:cxn modelId="{336D6CE2-BBA7-49D1-8779-10D1CB637377}" type="presParOf" srcId="{E2A09FA7-DE78-4999-A995-D39F0C0C3FA4}" destId="{6070943C-8367-460F-92F5-9FA221DAB6EE}" srcOrd="0" destOrd="0" presId="urn:microsoft.com/office/officeart/2005/8/layout/vList5"/>
    <dgm:cxn modelId="{D88344FA-ABC0-4A4B-82BF-7E217548DE01}" type="presParOf" srcId="{E2A09FA7-DE78-4999-A995-D39F0C0C3FA4}" destId="{9141AC2D-1145-4814-9CD6-D6EAA09B9B35}" srcOrd="1" destOrd="0" presId="urn:microsoft.com/office/officeart/2005/8/layout/vList5"/>
    <dgm:cxn modelId="{3C0F3D96-5D8F-47A3-88AC-C1406C7A8351}" type="presParOf" srcId="{9307BFC3-4CBC-418B-B9B1-C6733EE8BDF7}" destId="{4F0208AA-FAB5-4A4A-A3D3-62766244B464}" srcOrd="3" destOrd="0" presId="urn:microsoft.com/office/officeart/2005/8/layout/vList5"/>
    <dgm:cxn modelId="{1F211B43-1744-4825-8D19-0EAA3D975D1A}" type="presParOf" srcId="{9307BFC3-4CBC-418B-B9B1-C6733EE8BDF7}" destId="{BDF6DF06-ECAC-4AAC-9530-77B4D4862C54}" srcOrd="4" destOrd="0" presId="urn:microsoft.com/office/officeart/2005/8/layout/vList5"/>
    <dgm:cxn modelId="{F2CD192B-9B62-4F28-AAB6-E549C81D82A6}" type="presParOf" srcId="{BDF6DF06-ECAC-4AAC-9530-77B4D4862C54}" destId="{1FB1C08C-792C-4EDA-8391-D8E338DC26E3}" srcOrd="0" destOrd="0" presId="urn:microsoft.com/office/officeart/2005/8/layout/vList5"/>
    <dgm:cxn modelId="{666E9F55-8D06-4CFD-8E24-8387B01EDA70}" type="presParOf" srcId="{BDF6DF06-ECAC-4AAC-9530-77B4D4862C54}" destId="{00538B4B-2C68-487B-B6A3-0F36525F50FE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B7C5703-A701-4810-A82E-4A4BD83275D7}" type="doc">
      <dgm:prSet loTypeId="urn:microsoft.com/office/officeart/2008/layout/PictureStrips" loCatId="list" qsTypeId="urn:microsoft.com/office/officeart/2005/8/quickstyle/simple4#1" qsCatId="simple" csTypeId="urn:microsoft.com/office/officeart/2005/8/colors/accent1_1#1" csCatId="accent1" phldr="1"/>
      <dgm:spPr/>
      <dgm:t>
        <a:bodyPr/>
        <a:lstStyle/>
        <a:p>
          <a:endParaRPr lang="en-MY"/>
        </a:p>
      </dgm:t>
    </dgm:pt>
    <dgm:pt modelId="{26CAA469-3AAD-4076-95DF-8C01B952603D}">
      <dgm:prSet phldrT="[Text]" custT="1"/>
      <dgm:spPr>
        <a:gradFill flip="none" rotWithShape="0">
          <a:gsLst>
            <a:gs pos="0">
              <a:schemeClr val="accent1">
                <a:lumMod val="60000"/>
                <a:lumOff val="40000"/>
                <a:tint val="66000"/>
                <a:satMod val="160000"/>
              </a:schemeClr>
            </a:gs>
            <a:gs pos="50000">
              <a:schemeClr val="accent1">
                <a:lumMod val="60000"/>
                <a:lumOff val="40000"/>
                <a:tint val="44500"/>
                <a:satMod val="160000"/>
              </a:schemeClr>
            </a:gs>
            <a:gs pos="100000">
              <a:schemeClr val="accent1">
                <a:lumMod val="60000"/>
                <a:lumOff val="40000"/>
                <a:tint val="23500"/>
                <a:satMod val="160000"/>
              </a:schemeClr>
            </a:gs>
          </a:gsLst>
          <a:lin ang="16200000" scaled="1"/>
          <a:tileRect/>
        </a:gradFill>
        <a:ln>
          <a:noFill/>
        </a:ln>
      </dgm:spPr>
      <dgm:t>
        <a:bodyPr/>
        <a:lstStyle/>
        <a:p>
          <a:r>
            <a:rPr lang="en-MY" sz="3200" dirty="0" err="1" smtClean="0">
              <a:latin typeface="Arial" panose="020B0604020202020204" pitchFamily="34" charset="0"/>
              <a:cs typeface="Arial" panose="020B0604020202020204" pitchFamily="34" charset="0"/>
            </a:rPr>
            <a:t>Pemimpin</a:t>
          </a:r>
          <a:r>
            <a:rPr lang="en-MY" sz="3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MY" sz="3200" dirty="0" err="1" smtClean="0">
              <a:latin typeface="Arial" panose="020B0604020202020204" pitchFamily="34" charset="0"/>
              <a:cs typeface="Arial" panose="020B0604020202020204" pitchFamily="34" charset="0"/>
            </a:rPr>
            <a:t>dapat</a:t>
          </a:r>
          <a:r>
            <a:rPr lang="en-MY" sz="3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MY" sz="3200" dirty="0" err="1" smtClean="0">
              <a:latin typeface="Arial" panose="020B0604020202020204" pitchFamily="34" charset="0"/>
              <a:cs typeface="Arial" panose="020B0604020202020204" pitchFamily="34" charset="0"/>
            </a:rPr>
            <a:t>mengenal</a:t>
          </a:r>
          <a:r>
            <a:rPr lang="en-MY" sz="3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MY" sz="3200" dirty="0" err="1" smtClean="0">
              <a:latin typeface="Arial" panose="020B0604020202020204" pitchFamily="34" charset="0"/>
              <a:cs typeface="Arial" panose="020B0604020202020204" pitchFamily="34" charset="0"/>
            </a:rPr>
            <a:t>pasti</a:t>
          </a:r>
          <a:r>
            <a:rPr lang="en-MY" sz="3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MY" sz="3600" b="1" dirty="0" err="1" smtClean="0">
              <a:latin typeface="Arial" panose="020B0604020202020204" pitchFamily="34" charset="0"/>
              <a:cs typeface="Arial" panose="020B0604020202020204" pitchFamily="34" charset="0"/>
            </a:rPr>
            <a:t>peranan</a:t>
          </a:r>
          <a:r>
            <a:rPr lang="en-MY" sz="3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MY" sz="3200" dirty="0" err="1" smtClean="0">
              <a:latin typeface="Arial" panose="020B0604020202020204" pitchFamily="34" charset="0"/>
              <a:cs typeface="Arial" panose="020B0604020202020204" pitchFamily="34" charset="0"/>
            </a:rPr>
            <a:t>mereka</a:t>
          </a:r>
          <a:r>
            <a:rPr lang="en-MY" sz="3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MY" sz="3200" dirty="0" err="1" smtClean="0">
              <a:latin typeface="Arial" panose="020B0604020202020204" pitchFamily="34" charset="0"/>
              <a:cs typeface="Arial" panose="020B0604020202020204" pitchFamily="34" charset="0"/>
            </a:rPr>
            <a:t>sebagai</a:t>
          </a:r>
          <a:r>
            <a:rPr lang="en-MY" sz="3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MY" sz="3200" dirty="0" err="1" smtClean="0">
              <a:latin typeface="Arial" panose="020B0604020202020204" pitchFamily="34" charset="0"/>
              <a:cs typeface="Arial" panose="020B0604020202020204" pitchFamily="34" charset="0"/>
            </a:rPr>
            <a:t>ketua</a:t>
          </a:r>
          <a:r>
            <a:rPr lang="en-MY" sz="3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MY" sz="3200" dirty="0" err="1" smtClean="0">
              <a:latin typeface="Arial" panose="020B0604020202020204" pitchFamily="34" charset="0"/>
              <a:cs typeface="Arial" panose="020B0604020202020204" pitchFamily="34" charset="0"/>
            </a:rPr>
            <a:t>dalam</a:t>
          </a:r>
          <a:r>
            <a:rPr lang="en-MY" sz="3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MY" sz="3200" dirty="0" err="1" smtClean="0">
              <a:latin typeface="Arial" panose="020B0604020202020204" pitchFamily="34" charset="0"/>
              <a:cs typeface="Arial" panose="020B0604020202020204" pitchFamily="34" charset="0"/>
            </a:rPr>
            <a:t>membudayakan</a:t>
          </a:r>
          <a:r>
            <a:rPr lang="en-MY" sz="3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MY" sz="3200" dirty="0" err="1" smtClean="0">
              <a:latin typeface="Arial" panose="020B0604020202020204" pitchFamily="34" charset="0"/>
              <a:cs typeface="Arial" panose="020B0604020202020204" pitchFamily="34" charset="0"/>
            </a:rPr>
            <a:t>Komuniti</a:t>
          </a:r>
          <a:r>
            <a:rPr lang="en-MY" sz="3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MY" sz="3200" dirty="0" err="1" smtClean="0">
              <a:latin typeface="Arial" panose="020B0604020202020204" pitchFamily="34" charset="0"/>
              <a:cs typeface="Arial" panose="020B0604020202020204" pitchFamily="34" charset="0"/>
            </a:rPr>
            <a:t>Pembelajaran</a:t>
          </a:r>
          <a:r>
            <a:rPr lang="en-MY" sz="3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MY" sz="3200" dirty="0" err="1" smtClean="0">
              <a:latin typeface="Arial" panose="020B0604020202020204" pitchFamily="34" charset="0"/>
              <a:cs typeface="Arial" panose="020B0604020202020204" pitchFamily="34" charset="0"/>
            </a:rPr>
            <a:t>Profesional</a:t>
          </a:r>
          <a:r>
            <a:rPr lang="en-MY" sz="3200" dirty="0" smtClean="0">
              <a:latin typeface="Arial" panose="020B0604020202020204" pitchFamily="34" charset="0"/>
              <a:cs typeface="Arial" panose="020B0604020202020204" pitchFamily="34" charset="0"/>
            </a:rPr>
            <a:t> (PLC) </a:t>
          </a:r>
          <a:r>
            <a:rPr lang="en-MY" sz="3200" dirty="0" err="1" smtClean="0">
              <a:latin typeface="Arial" panose="020B0604020202020204" pitchFamily="34" charset="0"/>
              <a:cs typeface="Arial" panose="020B0604020202020204" pitchFamily="34" charset="0"/>
            </a:rPr>
            <a:t>di</a:t>
          </a:r>
          <a:r>
            <a:rPr lang="en-MY" sz="3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MY" sz="3200" dirty="0" err="1" smtClean="0">
              <a:latin typeface="Arial" panose="020B0604020202020204" pitchFamily="34" charset="0"/>
              <a:cs typeface="Arial" panose="020B0604020202020204" pitchFamily="34" charset="0"/>
            </a:rPr>
            <a:t>sekolah</a:t>
          </a:r>
          <a:r>
            <a:rPr lang="en-MY" sz="3200" dirty="0" smtClean="0">
              <a:latin typeface="Arial" panose="020B0604020202020204" pitchFamily="34" charset="0"/>
              <a:cs typeface="Arial" panose="020B0604020202020204" pitchFamily="34" charset="0"/>
            </a:rPr>
            <a:t>.</a:t>
          </a:r>
          <a:endParaRPr lang="en-MY" sz="3200" dirty="0"/>
        </a:p>
      </dgm:t>
    </dgm:pt>
    <dgm:pt modelId="{5129E56D-F286-41D3-AB77-696C6F722984}" type="parTrans" cxnId="{E01A3A86-3ED6-48C1-8A63-142D9FC85878}">
      <dgm:prSet/>
      <dgm:spPr/>
      <dgm:t>
        <a:bodyPr/>
        <a:lstStyle/>
        <a:p>
          <a:endParaRPr lang="en-MY"/>
        </a:p>
      </dgm:t>
    </dgm:pt>
    <dgm:pt modelId="{62250F3E-3849-4D8A-9F0D-FB7DDEE44327}" type="sibTrans" cxnId="{E01A3A86-3ED6-48C1-8A63-142D9FC85878}">
      <dgm:prSet/>
      <dgm:spPr/>
      <dgm:t>
        <a:bodyPr/>
        <a:lstStyle/>
        <a:p>
          <a:endParaRPr lang="en-MY"/>
        </a:p>
      </dgm:t>
    </dgm:pt>
    <dgm:pt modelId="{036C7299-3E5E-4C0B-96D5-DA8CCFB06723}" type="pres">
      <dgm:prSet presAssocID="{AB7C5703-A701-4810-A82E-4A4BD83275D7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ms-MY"/>
        </a:p>
      </dgm:t>
    </dgm:pt>
    <dgm:pt modelId="{B19EB9C5-ACFD-4C01-906F-08ADEB769A19}" type="pres">
      <dgm:prSet presAssocID="{26CAA469-3AAD-4076-95DF-8C01B952603D}" presName="composite" presStyleCnt="0"/>
      <dgm:spPr/>
      <dgm:t>
        <a:bodyPr/>
        <a:lstStyle/>
        <a:p>
          <a:endParaRPr lang="ms-MY"/>
        </a:p>
      </dgm:t>
    </dgm:pt>
    <dgm:pt modelId="{3E00D8A2-485B-43A7-918E-074571806625}" type="pres">
      <dgm:prSet presAssocID="{26CAA469-3AAD-4076-95DF-8C01B952603D}" presName="rect1" presStyleLbl="trAlignAcc1" presStyleIdx="0" presStyleCnt="1" custScaleX="91260" custScaleY="155426" custLinFactNeighborX="3494">
        <dgm:presLayoutVars>
          <dgm:bulletEnabled val="1"/>
        </dgm:presLayoutVars>
      </dgm:prSet>
      <dgm:spPr/>
      <dgm:t>
        <a:bodyPr/>
        <a:lstStyle/>
        <a:p>
          <a:endParaRPr lang="en-MY"/>
        </a:p>
      </dgm:t>
    </dgm:pt>
    <dgm:pt modelId="{AFD606F0-512D-4509-A695-78C9AF3C2BC7}" type="pres">
      <dgm:prSet presAssocID="{26CAA469-3AAD-4076-95DF-8C01B952603D}" presName="rect2" presStyleLbl="fgImgPlace1" presStyleIdx="0" presStyleCnt="1" custScaleX="133947" custScaleY="148409" custLinFactNeighborX="-45920" custLinFactNeighborY="-48"/>
      <dgm:spPr>
        <a:blipFill rotWithShape="1">
          <a:blip xmlns:r="http://schemas.openxmlformats.org/officeDocument/2006/relationships" r:embed="rId1"/>
          <a:stretch>
            <a:fillRect/>
          </a:stretch>
        </a:blipFill>
        <a:ln>
          <a:noFill/>
        </a:ln>
      </dgm:spPr>
      <dgm:t>
        <a:bodyPr/>
        <a:lstStyle/>
        <a:p>
          <a:endParaRPr lang="ms-MY"/>
        </a:p>
      </dgm:t>
    </dgm:pt>
  </dgm:ptLst>
  <dgm:cxnLst>
    <dgm:cxn modelId="{AEB19748-CDAF-489B-8C1B-83C0C7657615}" type="presOf" srcId="{AB7C5703-A701-4810-A82E-4A4BD83275D7}" destId="{036C7299-3E5E-4C0B-96D5-DA8CCFB06723}" srcOrd="0" destOrd="0" presId="urn:microsoft.com/office/officeart/2008/layout/PictureStrips"/>
    <dgm:cxn modelId="{754C13FC-EF31-475F-BB90-CF6D44B380DD}" type="presOf" srcId="{26CAA469-3AAD-4076-95DF-8C01B952603D}" destId="{3E00D8A2-485B-43A7-918E-074571806625}" srcOrd="0" destOrd="0" presId="urn:microsoft.com/office/officeart/2008/layout/PictureStrips"/>
    <dgm:cxn modelId="{E01A3A86-3ED6-48C1-8A63-142D9FC85878}" srcId="{AB7C5703-A701-4810-A82E-4A4BD83275D7}" destId="{26CAA469-3AAD-4076-95DF-8C01B952603D}" srcOrd="0" destOrd="0" parTransId="{5129E56D-F286-41D3-AB77-696C6F722984}" sibTransId="{62250F3E-3849-4D8A-9F0D-FB7DDEE44327}"/>
    <dgm:cxn modelId="{377CA4FE-4ED9-48C1-B3AA-11624B7BC3B5}" type="presParOf" srcId="{036C7299-3E5E-4C0B-96D5-DA8CCFB06723}" destId="{B19EB9C5-ACFD-4C01-906F-08ADEB769A19}" srcOrd="0" destOrd="0" presId="urn:microsoft.com/office/officeart/2008/layout/PictureStrips"/>
    <dgm:cxn modelId="{E736C34D-6AF5-4C78-A7BF-F45552220041}" type="presParOf" srcId="{B19EB9C5-ACFD-4C01-906F-08ADEB769A19}" destId="{3E00D8A2-485B-43A7-918E-074571806625}" srcOrd="0" destOrd="0" presId="urn:microsoft.com/office/officeart/2008/layout/PictureStrips"/>
    <dgm:cxn modelId="{38B47AF7-7419-4B65-B81B-C099C7DC8716}" type="presParOf" srcId="{B19EB9C5-ACFD-4C01-906F-08ADEB769A19}" destId="{AFD606F0-512D-4509-A695-78C9AF3C2BC7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A2267ED-4880-C24D-9E0C-0C2623274E68}" type="doc">
      <dgm:prSet loTypeId="urn:microsoft.com/office/officeart/2005/8/layout/cycle4#1" loCatId="" qsTypeId="urn:microsoft.com/office/officeart/2005/8/quickstyle/simple3#1" qsCatId="simple" csTypeId="urn:microsoft.com/office/officeart/2005/8/colors/colorful5#1" csCatId="colorful" phldr="1"/>
      <dgm:spPr/>
      <dgm:t>
        <a:bodyPr/>
        <a:lstStyle/>
        <a:p>
          <a:endParaRPr lang="en-US"/>
        </a:p>
      </dgm:t>
    </dgm:pt>
    <dgm:pt modelId="{57F6B9AA-36E2-8448-8C6F-E87EDB932E52}">
      <dgm:prSet phldrT="[Text]" custT="1"/>
      <dgm:spPr>
        <a:solidFill>
          <a:srgbClr val="FFFF00">
            <a:alpha val="69804"/>
          </a:srgbClr>
        </a:solidFill>
      </dgm:spPr>
      <dgm:t>
        <a:bodyPr/>
        <a:lstStyle/>
        <a:p>
          <a:r>
            <a:rPr lang="en-US" sz="1800" b="0" cap="none" spc="0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glow rad="228600">
                  <a:srgbClr val="000000"/>
                </a:glow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700" b="0" cap="none" spc="0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glow rad="228600">
                  <a:srgbClr val="000000"/>
                </a:glow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rPr>
            <a:t>KEPIMPINAN</a:t>
          </a:r>
          <a:endParaRPr lang="en-US" sz="1700" b="0" cap="none" spc="0" dirty="0">
            <a:ln w="18415" cmpd="sng">
              <a:solidFill>
                <a:srgbClr val="FFFFFF"/>
              </a:solidFill>
              <a:prstDash val="solid"/>
            </a:ln>
            <a:solidFill>
              <a:srgbClr val="FFFFFF"/>
            </a:solidFill>
            <a:effectLst>
              <a:glow rad="228600">
                <a:srgbClr val="000000"/>
              </a:glow>
              <a:outerShdw blurRad="63500" dir="3600000" algn="tl" rotWithShape="0">
                <a:srgbClr val="000000">
                  <a:alpha val="70000"/>
                </a:srgbClr>
              </a:outerShdw>
            </a:effectLst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79E5B3F-C83A-044E-B8F6-D3B35EA844AC}" type="parTrans" cxnId="{C74A42B8-8E3E-A540-9BAA-9EF9C365B257}">
      <dgm:prSet/>
      <dgm:spPr/>
      <dgm:t>
        <a:bodyPr/>
        <a:lstStyle/>
        <a:p>
          <a:endParaRPr lang="en-US" sz="18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CAFAF92-0D5B-1046-8D1A-E1A152AA6276}" type="sibTrans" cxnId="{C74A42B8-8E3E-A540-9BAA-9EF9C365B257}">
      <dgm:prSet/>
      <dgm:spPr/>
      <dgm:t>
        <a:bodyPr/>
        <a:lstStyle/>
        <a:p>
          <a:endParaRPr lang="en-US" sz="18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001D4DA-89F2-624D-9202-A34DEAA6BD39}">
      <dgm:prSet phldrT="[Text]" custT="1"/>
      <dgm:spPr>
        <a:solidFill>
          <a:srgbClr val="66FF33">
            <a:alpha val="69804"/>
          </a:srgbClr>
        </a:solidFill>
      </dgm:spPr>
      <dgm:t>
        <a:bodyPr/>
        <a:lstStyle/>
        <a:p>
          <a:r>
            <a:rPr lang="en-US" sz="1700" b="0" cap="none" spc="0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glow rad="228600">
                  <a:srgbClr val="000000"/>
                </a:glow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rPr>
            <a:t>PERANCANGAN</a:t>
          </a:r>
          <a:endParaRPr lang="en-US" sz="1700" b="0" cap="none" spc="0" dirty="0">
            <a:ln w="18415" cmpd="sng">
              <a:solidFill>
                <a:srgbClr val="FFFFFF"/>
              </a:solidFill>
              <a:prstDash val="solid"/>
            </a:ln>
            <a:solidFill>
              <a:srgbClr val="FFFFFF"/>
            </a:solidFill>
            <a:effectLst>
              <a:glow rad="228600">
                <a:srgbClr val="000000"/>
              </a:glow>
              <a:outerShdw blurRad="63500" dir="3600000" algn="tl" rotWithShape="0">
                <a:srgbClr val="000000">
                  <a:alpha val="70000"/>
                </a:srgbClr>
              </a:outerShdw>
            </a:effectLst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D6962F3-DFA1-494F-B75B-823FCEEF8CF0}" type="parTrans" cxnId="{ED0A2AC4-EE41-094D-8AA1-4B14969C19C3}">
      <dgm:prSet/>
      <dgm:spPr/>
      <dgm:t>
        <a:bodyPr/>
        <a:lstStyle/>
        <a:p>
          <a:endParaRPr lang="en-US" sz="18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13BECD4-E9ED-1845-84EC-0DB587791F3D}" type="sibTrans" cxnId="{ED0A2AC4-EE41-094D-8AA1-4B14969C19C3}">
      <dgm:prSet/>
      <dgm:spPr/>
      <dgm:t>
        <a:bodyPr/>
        <a:lstStyle/>
        <a:p>
          <a:endParaRPr lang="en-US" sz="18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FD3A03A-FDF6-6F4B-8A10-5D7EFED5D8AD}">
      <dgm:prSet phldrT="[Text]" custT="1"/>
      <dgm:spPr>
        <a:solidFill>
          <a:srgbClr val="FF3300">
            <a:alpha val="69804"/>
          </a:srgbClr>
        </a:solidFill>
      </dgm:spPr>
      <dgm:t>
        <a:bodyPr/>
        <a:lstStyle/>
        <a:p>
          <a:r>
            <a:rPr lang="en-US" sz="1700" b="0" cap="none" spc="0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glow rad="228600">
                  <a:srgbClr val="000000"/>
                </a:glow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rPr>
            <a:t>PEMANTAUAN</a:t>
          </a:r>
          <a:endParaRPr lang="en-US" sz="1700" b="0" cap="none" spc="0" dirty="0">
            <a:ln w="18415" cmpd="sng">
              <a:solidFill>
                <a:srgbClr val="FFFFFF"/>
              </a:solidFill>
              <a:prstDash val="solid"/>
            </a:ln>
            <a:solidFill>
              <a:srgbClr val="FFFFFF"/>
            </a:solidFill>
            <a:effectLst>
              <a:glow rad="228600">
                <a:srgbClr val="000000"/>
              </a:glow>
              <a:outerShdw blurRad="63500" dir="3600000" algn="tl" rotWithShape="0">
                <a:srgbClr val="000000">
                  <a:alpha val="70000"/>
                </a:srgbClr>
              </a:outerShdw>
            </a:effectLst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185866F-5A02-2148-96F7-E10A3473AFA0}" type="parTrans" cxnId="{16F0FF95-748B-BE4D-B15E-CC121B30454B}">
      <dgm:prSet/>
      <dgm:spPr/>
      <dgm:t>
        <a:bodyPr/>
        <a:lstStyle/>
        <a:p>
          <a:endParaRPr lang="en-US" sz="18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85C1694-9010-884D-BA81-E13FDCE1CE22}" type="sibTrans" cxnId="{16F0FF95-748B-BE4D-B15E-CC121B30454B}">
      <dgm:prSet/>
      <dgm:spPr/>
      <dgm:t>
        <a:bodyPr/>
        <a:lstStyle/>
        <a:p>
          <a:endParaRPr lang="en-US" sz="18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65630B6-8ABC-2F4B-A616-9148F8C7E756}">
      <dgm:prSet phldrT="[Text]" custT="1"/>
      <dgm:spPr>
        <a:solidFill>
          <a:srgbClr val="3366FF">
            <a:alpha val="69804"/>
          </a:srgbClr>
        </a:solidFill>
      </dgm:spPr>
      <dgm:t>
        <a:bodyPr/>
        <a:lstStyle/>
        <a:p>
          <a:r>
            <a:rPr lang="en-US" sz="1700" b="0" cap="none" spc="0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glow rad="228600">
                  <a:srgbClr val="000000"/>
                </a:glow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rPr>
            <a:t>MEMIMPIN &amp; MENGURUS PERUBAHAN</a:t>
          </a:r>
          <a:endParaRPr lang="en-US" sz="1700" b="0" cap="none" spc="0" dirty="0">
            <a:ln w="18415" cmpd="sng">
              <a:solidFill>
                <a:srgbClr val="FFFFFF"/>
              </a:solidFill>
              <a:prstDash val="solid"/>
            </a:ln>
            <a:solidFill>
              <a:srgbClr val="FFFFFF"/>
            </a:solidFill>
            <a:effectLst>
              <a:glow rad="228600">
                <a:srgbClr val="000000"/>
              </a:glow>
              <a:outerShdw blurRad="63500" dir="3600000" algn="tl" rotWithShape="0">
                <a:srgbClr val="000000">
                  <a:alpha val="70000"/>
                </a:srgbClr>
              </a:outerShdw>
            </a:effectLst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B8DC5A5-9598-1D40-8430-FFDA00AD9447}" type="sibTrans" cxnId="{EC548C8E-7568-1743-815E-1A399CD79EC1}">
      <dgm:prSet/>
      <dgm:spPr/>
      <dgm:t>
        <a:bodyPr/>
        <a:lstStyle/>
        <a:p>
          <a:endParaRPr lang="en-US" sz="18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C42CDA0-C2B9-9F48-8863-416EAC93D805}" type="parTrans" cxnId="{EC548C8E-7568-1743-815E-1A399CD79EC1}">
      <dgm:prSet/>
      <dgm:spPr/>
      <dgm:t>
        <a:bodyPr/>
        <a:lstStyle/>
        <a:p>
          <a:endParaRPr lang="en-US" sz="18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180327B-8915-2A40-BCCD-D4F9055C6CBF}">
      <dgm:prSet phldrT="[Text]" custT="1"/>
      <dgm:spPr>
        <a:ln>
          <a:noFill/>
        </a:ln>
      </dgm:spPr>
      <dgm:t>
        <a:bodyPr/>
        <a:lstStyle/>
        <a:p>
          <a:endParaRPr lang="en-US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39283E8-ABFC-EB4E-86E8-19758C8DA426}" type="sibTrans" cxnId="{5921018A-7711-AF41-9D0B-CA74D0AEC758}">
      <dgm:prSet/>
      <dgm:spPr/>
      <dgm:t>
        <a:bodyPr/>
        <a:lstStyle/>
        <a:p>
          <a:endParaRPr lang="en-US" sz="18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7C7BDB7-DF5A-0647-9585-2BC48C3C2B27}" type="parTrans" cxnId="{5921018A-7711-AF41-9D0B-CA74D0AEC758}">
      <dgm:prSet/>
      <dgm:spPr/>
      <dgm:t>
        <a:bodyPr/>
        <a:lstStyle/>
        <a:p>
          <a:endParaRPr lang="en-US" sz="18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0EE86A4-E78D-CD40-A496-C6A8A8255061}">
      <dgm:prSet phldrT="[Text]" custT="1"/>
      <dgm:spPr>
        <a:ln>
          <a:noFill/>
        </a:ln>
      </dgm:spPr>
      <dgm:t>
        <a:bodyPr/>
        <a:lstStyle/>
        <a:p>
          <a:endParaRPr lang="en-US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E5F0B16-2CF1-BF49-88CC-5EA84B66575C}" type="sibTrans" cxnId="{3FEDB99E-CFE4-D94F-AB56-BD375728E7A5}">
      <dgm:prSet/>
      <dgm:spPr/>
      <dgm:t>
        <a:bodyPr/>
        <a:lstStyle/>
        <a:p>
          <a:endParaRPr lang="en-US" sz="18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925ECD6-87D3-3C42-A99E-86D31B81190B}" type="parTrans" cxnId="{3FEDB99E-CFE4-D94F-AB56-BD375728E7A5}">
      <dgm:prSet/>
      <dgm:spPr/>
      <dgm:t>
        <a:bodyPr/>
        <a:lstStyle/>
        <a:p>
          <a:endParaRPr lang="en-US" sz="18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D9B5552-7559-4000-A939-BC17E949DDF1}">
      <dgm:prSet phldrT="[Text]" custT="1"/>
      <dgm:spPr>
        <a:ln>
          <a:noFill/>
        </a:ln>
      </dgm:spPr>
      <dgm:t>
        <a:bodyPr/>
        <a:lstStyle/>
        <a:p>
          <a:endParaRPr lang="en-US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221B9E9-62FD-431A-B60C-43740EF1B3E9}" type="parTrans" cxnId="{9C853106-D29C-46C0-90EA-AC01A70B1288}">
      <dgm:prSet/>
      <dgm:spPr/>
      <dgm:t>
        <a:bodyPr/>
        <a:lstStyle/>
        <a:p>
          <a:endParaRPr lang="ms-MY"/>
        </a:p>
      </dgm:t>
    </dgm:pt>
    <dgm:pt modelId="{8B5616E0-5693-454A-B7E7-755132424655}" type="sibTrans" cxnId="{9C853106-D29C-46C0-90EA-AC01A70B1288}">
      <dgm:prSet/>
      <dgm:spPr/>
      <dgm:t>
        <a:bodyPr/>
        <a:lstStyle/>
        <a:p>
          <a:endParaRPr lang="ms-MY"/>
        </a:p>
      </dgm:t>
    </dgm:pt>
    <dgm:pt modelId="{82B03165-B1AE-47F1-A49C-BEC1DE4A355D}">
      <dgm:prSet phldrT="[Text]" custT="1"/>
      <dgm:spPr>
        <a:ln>
          <a:noFill/>
        </a:ln>
      </dgm:spPr>
      <dgm:t>
        <a:bodyPr/>
        <a:lstStyle/>
        <a:p>
          <a:endParaRPr lang="en-US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D882C6C-77C9-4085-99A6-4338A5270101}" type="parTrans" cxnId="{AA6088BB-700A-49A8-A3FB-AEA09E6E1068}">
      <dgm:prSet/>
      <dgm:spPr/>
      <dgm:t>
        <a:bodyPr/>
        <a:lstStyle/>
        <a:p>
          <a:endParaRPr lang="ms-MY"/>
        </a:p>
      </dgm:t>
    </dgm:pt>
    <dgm:pt modelId="{7687049D-FE71-4D99-9F3B-441F6BC6B513}" type="sibTrans" cxnId="{AA6088BB-700A-49A8-A3FB-AEA09E6E1068}">
      <dgm:prSet/>
      <dgm:spPr/>
      <dgm:t>
        <a:bodyPr/>
        <a:lstStyle/>
        <a:p>
          <a:endParaRPr lang="ms-MY"/>
        </a:p>
      </dgm:t>
    </dgm:pt>
    <dgm:pt modelId="{1987FD21-CA13-47AC-AE40-9CDD84A73E09}">
      <dgm:prSet phldrT="[Text]" custT="1"/>
      <dgm:spPr>
        <a:ln>
          <a:noFill/>
        </a:ln>
      </dgm:spPr>
      <dgm:t>
        <a:bodyPr/>
        <a:lstStyle/>
        <a:p>
          <a:endParaRPr lang="en-US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36526C9-BF97-4A83-A860-1ABC0AEA5D45}" type="parTrans" cxnId="{A68A9072-BDE4-4147-B680-FF66CC65110C}">
      <dgm:prSet/>
      <dgm:spPr/>
      <dgm:t>
        <a:bodyPr/>
        <a:lstStyle/>
        <a:p>
          <a:endParaRPr lang="ms-MY"/>
        </a:p>
      </dgm:t>
    </dgm:pt>
    <dgm:pt modelId="{7BD02840-F8AB-44D5-BB62-515A75A721B8}" type="sibTrans" cxnId="{A68A9072-BDE4-4147-B680-FF66CC65110C}">
      <dgm:prSet/>
      <dgm:spPr/>
      <dgm:t>
        <a:bodyPr/>
        <a:lstStyle/>
        <a:p>
          <a:endParaRPr lang="ms-MY"/>
        </a:p>
      </dgm:t>
    </dgm:pt>
    <dgm:pt modelId="{7CB7D593-1AD9-438E-971F-37332A7D91C3}">
      <dgm:prSet phldrT="[Text]" custT="1"/>
      <dgm:spPr>
        <a:ln>
          <a:noFill/>
        </a:ln>
      </dgm:spPr>
      <dgm:t>
        <a:bodyPr/>
        <a:lstStyle/>
        <a:p>
          <a:endParaRPr lang="en-US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DC4F952-42E7-4E49-9307-8B9271AAC8D4}" type="parTrans" cxnId="{A0487963-8718-4C3D-AF9D-CFD9CA0E4E9E}">
      <dgm:prSet/>
      <dgm:spPr/>
      <dgm:t>
        <a:bodyPr/>
        <a:lstStyle/>
        <a:p>
          <a:endParaRPr lang="ms-MY"/>
        </a:p>
      </dgm:t>
    </dgm:pt>
    <dgm:pt modelId="{7E75A0A9-ED1D-471F-9D52-48A4E24FE0D8}" type="sibTrans" cxnId="{A0487963-8718-4C3D-AF9D-CFD9CA0E4E9E}">
      <dgm:prSet/>
      <dgm:spPr/>
      <dgm:t>
        <a:bodyPr/>
        <a:lstStyle/>
        <a:p>
          <a:endParaRPr lang="ms-MY"/>
        </a:p>
      </dgm:t>
    </dgm:pt>
    <dgm:pt modelId="{7EC1A122-40CF-4D3A-96C3-AC534008E142}">
      <dgm:prSet phldrT="[Text]" custT="1"/>
      <dgm:spPr>
        <a:ln>
          <a:noFill/>
        </a:ln>
      </dgm:spPr>
      <dgm:t>
        <a:bodyPr/>
        <a:lstStyle/>
        <a:p>
          <a:endParaRPr lang="en-US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BF0E8C9-C7E8-421D-84FF-FA7C94BE5261}" type="parTrans" cxnId="{C9A319D3-3F40-4D32-BA00-1AC248AC5984}">
      <dgm:prSet/>
      <dgm:spPr/>
      <dgm:t>
        <a:bodyPr/>
        <a:lstStyle/>
        <a:p>
          <a:endParaRPr lang="ms-MY"/>
        </a:p>
      </dgm:t>
    </dgm:pt>
    <dgm:pt modelId="{2114105A-ADB6-42AC-97D0-5905BFDD4A38}" type="sibTrans" cxnId="{C9A319D3-3F40-4D32-BA00-1AC248AC5984}">
      <dgm:prSet/>
      <dgm:spPr/>
      <dgm:t>
        <a:bodyPr/>
        <a:lstStyle/>
        <a:p>
          <a:endParaRPr lang="ms-MY"/>
        </a:p>
      </dgm:t>
    </dgm:pt>
    <dgm:pt modelId="{5874C93A-3257-4D3F-9A2A-497927A7A982}">
      <dgm:prSet phldrT="[Text]" custT="1"/>
      <dgm:spPr>
        <a:ln>
          <a:noFill/>
        </a:ln>
      </dgm:spPr>
      <dgm:t>
        <a:bodyPr/>
        <a:lstStyle/>
        <a:p>
          <a:endParaRPr lang="en-US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82E1E5A-6272-40C0-999B-3BB2D80B7F8F}" type="parTrans" cxnId="{FF49ECC2-4FB3-4351-9DFF-3D4268DDDD21}">
      <dgm:prSet/>
      <dgm:spPr/>
      <dgm:t>
        <a:bodyPr/>
        <a:lstStyle/>
        <a:p>
          <a:endParaRPr lang="ms-MY"/>
        </a:p>
      </dgm:t>
    </dgm:pt>
    <dgm:pt modelId="{91B7E49D-C967-45D6-95B9-A869D9F8D3DA}" type="sibTrans" cxnId="{FF49ECC2-4FB3-4351-9DFF-3D4268DDDD21}">
      <dgm:prSet/>
      <dgm:spPr/>
      <dgm:t>
        <a:bodyPr/>
        <a:lstStyle/>
        <a:p>
          <a:endParaRPr lang="ms-MY"/>
        </a:p>
      </dgm:t>
    </dgm:pt>
    <dgm:pt modelId="{7AECB4D7-B716-40DC-AA70-55417CBFBDA8}">
      <dgm:prSet phldrT="[Text]" custT="1"/>
      <dgm:spPr>
        <a:ln>
          <a:noFill/>
        </a:ln>
      </dgm:spPr>
      <dgm:t>
        <a:bodyPr/>
        <a:lstStyle/>
        <a:p>
          <a:endParaRPr lang="en-US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487F3A6-0A16-471C-A0DA-2CA38FB4157D}" type="parTrans" cxnId="{0DCB8BD0-B7C8-4424-A44F-AB41D22E12A6}">
      <dgm:prSet/>
      <dgm:spPr/>
      <dgm:t>
        <a:bodyPr/>
        <a:lstStyle/>
        <a:p>
          <a:endParaRPr lang="ms-MY"/>
        </a:p>
      </dgm:t>
    </dgm:pt>
    <dgm:pt modelId="{BF9CABC1-7E4A-4AB3-9C45-11B429771015}" type="sibTrans" cxnId="{0DCB8BD0-B7C8-4424-A44F-AB41D22E12A6}">
      <dgm:prSet/>
      <dgm:spPr/>
      <dgm:t>
        <a:bodyPr/>
        <a:lstStyle/>
        <a:p>
          <a:endParaRPr lang="ms-MY"/>
        </a:p>
      </dgm:t>
    </dgm:pt>
    <dgm:pt modelId="{A1CECFD3-8C70-4623-A644-D27E3B5C64A5}">
      <dgm:prSet phldrT="[Text]" custT="1"/>
      <dgm:spPr>
        <a:ln>
          <a:noFill/>
        </a:ln>
      </dgm:spPr>
      <dgm:t>
        <a:bodyPr/>
        <a:lstStyle/>
        <a:p>
          <a:endParaRPr lang="en-US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D6DED9C-955C-4468-BF99-6E219E34FC52}" type="parTrans" cxnId="{A9C70FE1-FEE1-444A-8A2F-ACD934E29146}">
      <dgm:prSet/>
      <dgm:spPr/>
      <dgm:t>
        <a:bodyPr/>
        <a:lstStyle/>
        <a:p>
          <a:endParaRPr lang="ms-MY"/>
        </a:p>
      </dgm:t>
    </dgm:pt>
    <dgm:pt modelId="{D51DA48E-409B-4F1D-ABF7-B84A714CCF88}" type="sibTrans" cxnId="{A9C70FE1-FEE1-444A-8A2F-ACD934E29146}">
      <dgm:prSet/>
      <dgm:spPr/>
      <dgm:t>
        <a:bodyPr/>
        <a:lstStyle/>
        <a:p>
          <a:endParaRPr lang="ms-MY"/>
        </a:p>
      </dgm:t>
    </dgm:pt>
    <dgm:pt modelId="{1A704921-3DC4-8348-86D1-5ECECC72C4AD}" type="pres">
      <dgm:prSet presAssocID="{2A2267ED-4880-C24D-9E0C-0C2623274E68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en-MY"/>
        </a:p>
      </dgm:t>
    </dgm:pt>
    <dgm:pt modelId="{9630D4FA-6D22-AB4D-BF3E-D8BC3DDE36FF}" type="pres">
      <dgm:prSet presAssocID="{2A2267ED-4880-C24D-9E0C-0C2623274E68}" presName="children" presStyleCnt="0"/>
      <dgm:spPr/>
      <dgm:t>
        <a:bodyPr/>
        <a:lstStyle/>
        <a:p>
          <a:endParaRPr lang="en-MY"/>
        </a:p>
      </dgm:t>
    </dgm:pt>
    <dgm:pt modelId="{C303C480-49D2-0447-9523-9657815CE874}" type="pres">
      <dgm:prSet presAssocID="{2A2267ED-4880-C24D-9E0C-0C2623274E68}" presName="child1group" presStyleCnt="0"/>
      <dgm:spPr/>
      <dgm:t>
        <a:bodyPr/>
        <a:lstStyle/>
        <a:p>
          <a:endParaRPr lang="en-MY"/>
        </a:p>
      </dgm:t>
    </dgm:pt>
    <dgm:pt modelId="{A10572C0-4F2E-6B43-8E42-DD99144DF619}" type="pres">
      <dgm:prSet presAssocID="{2A2267ED-4880-C24D-9E0C-0C2623274E68}" presName="child1" presStyleLbl="bgAcc1" presStyleIdx="0" presStyleCnt="4" custScaleX="116960"/>
      <dgm:spPr/>
      <dgm:t>
        <a:bodyPr/>
        <a:lstStyle/>
        <a:p>
          <a:endParaRPr lang="en-MY"/>
        </a:p>
      </dgm:t>
    </dgm:pt>
    <dgm:pt modelId="{97A33F7F-6806-2048-A06F-9D912471D8A8}" type="pres">
      <dgm:prSet presAssocID="{2A2267ED-4880-C24D-9E0C-0C2623274E68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en-MY"/>
        </a:p>
      </dgm:t>
    </dgm:pt>
    <dgm:pt modelId="{B9A786A1-6A39-6340-9987-AA9B415798C1}" type="pres">
      <dgm:prSet presAssocID="{2A2267ED-4880-C24D-9E0C-0C2623274E68}" presName="child2group" presStyleCnt="0"/>
      <dgm:spPr/>
      <dgm:t>
        <a:bodyPr/>
        <a:lstStyle/>
        <a:p>
          <a:endParaRPr lang="en-MY"/>
        </a:p>
      </dgm:t>
    </dgm:pt>
    <dgm:pt modelId="{A829D666-C738-BF4D-AC2E-F4E2DBC5BB45}" type="pres">
      <dgm:prSet presAssocID="{2A2267ED-4880-C24D-9E0C-0C2623274E68}" presName="child2" presStyleLbl="bgAcc1" presStyleIdx="1" presStyleCnt="4" custScaleX="114772"/>
      <dgm:spPr/>
      <dgm:t>
        <a:bodyPr/>
        <a:lstStyle/>
        <a:p>
          <a:endParaRPr lang="en-MY"/>
        </a:p>
      </dgm:t>
    </dgm:pt>
    <dgm:pt modelId="{694D58F1-920F-6649-A568-C81C65F19C65}" type="pres">
      <dgm:prSet presAssocID="{2A2267ED-4880-C24D-9E0C-0C2623274E68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en-MY"/>
        </a:p>
      </dgm:t>
    </dgm:pt>
    <dgm:pt modelId="{0E51F173-A2A3-DE46-91D0-2F5FBE306522}" type="pres">
      <dgm:prSet presAssocID="{2A2267ED-4880-C24D-9E0C-0C2623274E68}" presName="child3group" presStyleCnt="0"/>
      <dgm:spPr/>
      <dgm:t>
        <a:bodyPr/>
        <a:lstStyle/>
        <a:p>
          <a:endParaRPr lang="en-MY"/>
        </a:p>
      </dgm:t>
    </dgm:pt>
    <dgm:pt modelId="{22EF81F5-061A-2645-84CE-64313B794D28}" type="pres">
      <dgm:prSet presAssocID="{2A2267ED-4880-C24D-9E0C-0C2623274E68}" presName="child3" presStyleLbl="bgAcc1" presStyleIdx="2" presStyleCnt="4" custScaleX="117922" custLinFactNeighborX="2583"/>
      <dgm:spPr/>
      <dgm:t>
        <a:bodyPr/>
        <a:lstStyle/>
        <a:p>
          <a:endParaRPr lang="en-MY"/>
        </a:p>
      </dgm:t>
    </dgm:pt>
    <dgm:pt modelId="{C1095740-E50A-B644-8E27-02FB3E14CFDB}" type="pres">
      <dgm:prSet presAssocID="{2A2267ED-4880-C24D-9E0C-0C2623274E68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en-MY"/>
        </a:p>
      </dgm:t>
    </dgm:pt>
    <dgm:pt modelId="{94CD36FA-D4EB-B841-84C6-EA0E0267DA97}" type="pres">
      <dgm:prSet presAssocID="{2A2267ED-4880-C24D-9E0C-0C2623274E68}" presName="child4group" presStyleCnt="0"/>
      <dgm:spPr/>
      <dgm:t>
        <a:bodyPr/>
        <a:lstStyle/>
        <a:p>
          <a:endParaRPr lang="en-MY"/>
        </a:p>
      </dgm:t>
    </dgm:pt>
    <dgm:pt modelId="{E26DD43A-0FCA-5D4C-8BFD-59A254D60C11}" type="pres">
      <dgm:prSet presAssocID="{2A2267ED-4880-C24D-9E0C-0C2623274E68}" presName="child4" presStyleLbl="bgAcc1" presStyleIdx="3" presStyleCnt="4" custScaleX="118602"/>
      <dgm:spPr/>
      <dgm:t>
        <a:bodyPr/>
        <a:lstStyle/>
        <a:p>
          <a:endParaRPr lang="en-MY"/>
        </a:p>
      </dgm:t>
    </dgm:pt>
    <dgm:pt modelId="{C24044AF-5D1C-BD4D-9165-536EE384464E}" type="pres">
      <dgm:prSet presAssocID="{2A2267ED-4880-C24D-9E0C-0C2623274E68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en-MY"/>
        </a:p>
      </dgm:t>
    </dgm:pt>
    <dgm:pt modelId="{9502860E-0F95-2345-A3A4-DB8620F66A1A}" type="pres">
      <dgm:prSet presAssocID="{2A2267ED-4880-C24D-9E0C-0C2623274E68}" presName="childPlaceholder" presStyleCnt="0"/>
      <dgm:spPr/>
      <dgm:t>
        <a:bodyPr/>
        <a:lstStyle/>
        <a:p>
          <a:endParaRPr lang="en-MY"/>
        </a:p>
      </dgm:t>
    </dgm:pt>
    <dgm:pt modelId="{5AE57CB8-2C37-DA42-B699-F58E88B24FFA}" type="pres">
      <dgm:prSet presAssocID="{2A2267ED-4880-C24D-9E0C-0C2623274E68}" presName="circle" presStyleCnt="0"/>
      <dgm:spPr/>
      <dgm:t>
        <a:bodyPr/>
        <a:lstStyle/>
        <a:p>
          <a:endParaRPr lang="en-MY"/>
        </a:p>
      </dgm:t>
    </dgm:pt>
    <dgm:pt modelId="{27E172A4-0CA0-2448-B0B4-F1AAE8039D0D}" type="pres">
      <dgm:prSet presAssocID="{2A2267ED-4880-C24D-9E0C-0C2623274E68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MY"/>
        </a:p>
      </dgm:t>
    </dgm:pt>
    <dgm:pt modelId="{71D99AE5-2635-2E4A-87AE-B26E5B907114}" type="pres">
      <dgm:prSet presAssocID="{2A2267ED-4880-C24D-9E0C-0C2623274E68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MY"/>
        </a:p>
      </dgm:t>
    </dgm:pt>
    <dgm:pt modelId="{DEAF38D9-AD7F-6D46-AC55-677EFDA027CD}" type="pres">
      <dgm:prSet presAssocID="{2A2267ED-4880-C24D-9E0C-0C2623274E68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MY"/>
        </a:p>
      </dgm:t>
    </dgm:pt>
    <dgm:pt modelId="{A70122BE-F2BA-1048-9606-267CCA13E516}" type="pres">
      <dgm:prSet presAssocID="{2A2267ED-4880-C24D-9E0C-0C2623274E68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MY"/>
        </a:p>
      </dgm:t>
    </dgm:pt>
    <dgm:pt modelId="{6B820024-FF22-1748-9758-CDE82FFAD462}" type="pres">
      <dgm:prSet presAssocID="{2A2267ED-4880-C24D-9E0C-0C2623274E68}" presName="quadrantPlaceholder" presStyleCnt="0"/>
      <dgm:spPr/>
      <dgm:t>
        <a:bodyPr/>
        <a:lstStyle/>
        <a:p>
          <a:endParaRPr lang="en-MY"/>
        </a:p>
      </dgm:t>
    </dgm:pt>
    <dgm:pt modelId="{0E776968-413C-5149-BCB3-5BA264C05050}" type="pres">
      <dgm:prSet presAssocID="{2A2267ED-4880-C24D-9E0C-0C2623274E68}" presName="center1" presStyleLbl="fgShp" presStyleIdx="0" presStyleCnt="2"/>
      <dgm:spPr/>
      <dgm:t>
        <a:bodyPr/>
        <a:lstStyle/>
        <a:p>
          <a:endParaRPr lang="en-MY"/>
        </a:p>
      </dgm:t>
    </dgm:pt>
    <dgm:pt modelId="{54910C1B-7411-034C-975D-F5DFE0A503F5}" type="pres">
      <dgm:prSet presAssocID="{2A2267ED-4880-C24D-9E0C-0C2623274E68}" presName="center2" presStyleLbl="fgShp" presStyleIdx="1" presStyleCnt="2"/>
      <dgm:spPr/>
      <dgm:t>
        <a:bodyPr/>
        <a:lstStyle/>
        <a:p>
          <a:endParaRPr lang="en-MY"/>
        </a:p>
      </dgm:t>
    </dgm:pt>
  </dgm:ptLst>
  <dgm:cxnLst>
    <dgm:cxn modelId="{6EFDFD37-7BEC-4849-825C-0942AEF8A07A}" type="presOf" srcId="{7AECB4D7-B716-40DC-AA70-55417CBFBDA8}" destId="{C1095740-E50A-B644-8E27-02FB3E14CFDB}" srcOrd="1" destOrd="4" presId="urn:microsoft.com/office/officeart/2005/8/layout/cycle4#1"/>
    <dgm:cxn modelId="{ADC66BB2-175A-44E9-9CD4-3106A41DD50F}" type="presOf" srcId="{8180327B-8915-2A40-BCCD-D4F9055C6CBF}" destId="{97A33F7F-6806-2048-A06F-9D912471D8A8}" srcOrd="1" destOrd="0" presId="urn:microsoft.com/office/officeart/2005/8/layout/cycle4#1"/>
    <dgm:cxn modelId="{D7D59180-4EE4-4CB1-B1A9-24F46108CC77}" type="presOf" srcId="{8D9B5552-7559-4000-A939-BC17E949DDF1}" destId="{C24044AF-5D1C-BD4D-9165-536EE384464E}" srcOrd="1" destOrd="0" presId="urn:microsoft.com/office/officeart/2005/8/layout/cycle4#1"/>
    <dgm:cxn modelId="{C3F6E8F1-1C8D-4D76-A254-573A27F70E07}" type="presOf" srcId="{A1CECFD3-8C70-4623-A644-D27E3B5C64A5}" destId="{22EF81F5-061A-2645-84CE-64313B794D28}" srcOrd="0" destOrd="3" presId="urn:microsoft.com/office/officeart/2005/8/layout/cycle4#1"/>
    <dgm:cxn modelId="{9C853106-D29C-46C0-90EA-AC01A70B1288}" srcId="{0FD3A03A-FDF6-6F4B-8A10-5D7EFED5D8AD}" destId="{8D9B5552-7559-4000-A939-BC17E949DDF1}" srcOrd="0" destOrd="0" parTransId="{0221B9E9-62FD-431A-B60C-43740EF1B3E9}" sibTransId="{8B5616E0-5693-454A-B7E7-755132424655}"/>
    <dgm:cxn modelId="{B4F7F349-DC3C-4B44-952D-1574C301F2ED}" type="presOf" srcId="{A0EE86A4-E78D-CD40-A496-C6A8A8255061}" destId="{694D58F1-920F-6649-A568-C81C65F19C65}" srcOrd="1" destOrd="0" presId="urn:microsoft.com/office/officeart/2005/8/layout/cycle4#1"/>
    <dgm:cxn modelId="{EC548C8E-7568-1743-815E-1A399CD79EC1}" srcId="{2A2267ED-4880-C24D-9E0C-0C2623274E68}" destId="{765630B6-8ABC-2F4B-A616-9148F8C7E756}" srcOrd="1" destOrd="0" parTransId="{6C42CDA0-C2B9-9F48-8863-416EAC93D805}" sibTransId="{BB8DC5A5-9598-1D40-8430-FFDA00AD9447}"/>
    <dgm:cxn modelId="{77679FBB-7947-4E74-BF89-2C720F88062F}" type="presOf" srcId="{0FD3A03A-FDF6-6F4B-8A10-5D7EFED5D8AD}" destId="{A70122BE-F2BA-1048-9606-267CCA13E516}" srcOrd="0" destOrd="0" presId="urn:microsoft.com/office/officeart/2005/8/layout/cycle4#1"/>
    <dgm:cxn modelId="{25E860A2-416A-4A6E-A841-5AA38EB767F3}" type="presOf" srcId="{D001D4DA-89F2-624D-9202-A34DEAA6BD39}" destId="{DEAF38D9-AD7F-6D46-AC55-677EFDA027CD}" srcOrd="0" destOrd="0" presId="urn:microsoft.com/office/officeart/2005/8/layout/cycle4#1"/>
    <dgm:cxn modelId="{25075800-318C-4609-AFD4-1ABD202FE946}" type="presOf" srcId="{A1CECFD3-8C70-4623-A644-D27E3B5C64A5}" destId="{C1095740-E50A-B644-8E27-02FB3E14CFDB}" srcOrd="1" destOrd="3" presId="urn:microsoft.com/office/officeart/2005/8/layout/cycle4#1"/>
    <dgm:cxn modelId="{16F0FF95-748B-BE4D-B15E-CC121B30454B}" srcId="{2A2267ED-4880-C24D-9E0C-0C2623274E68}" destId="{0FD3A03A-FDF6-6F4B-8A10-5D7EFED5D8AD}" srcOrd="3" destOrd="0" parTransId="{A185866F-5A02-2148-96F7-E10A3473AFA0}" sibTransId="{A85C1694-9010-884D-BA81-E13FDCE1CE22}"/>
    <dgm:cxn modelId="{F45D1A9A-7CE9-4771-A056-DD73F259AC8A}" type="presOf" srcId="{82B03165-B1AE-47F1-A49C-BEC1DE4A355D}" destId="{E26DD43A-0FCA-5D4C-8BFD-59A254D60C11}" srcOrd="0" destOrd="1" presId="urn:microsoft.com/office/officeart/2005/8/layout/cycle4#1"/>
    <dgm:cxn modelId="{3FEDB99E-CFE4-D94F-AB56-BD375728E7A5}" srcId="{765630B6-8ABC-2F4B-A616-9148F8C7E756}" destId="{A0EE86A4-E78D-CD40-A496-C6A8A8255061}" srcOrd="0" destOrd="0" parTransId="{4925ECD6-87D3-3C42-A99E-86D31B81190B}" sibTransId="{BE5F0B16-2CF1-BF49-88CC-5EA84B66575C}"/>
    <dgm:cxn modelId="{B3E68B1A-72FB-4530-B7A4-599641EAD874}" type="presOf" srcId="{7CB7D593-1AD9-438E-971F-37332A7D91C3}" destId="{C1095740-E50A-B644-8E27-02FB3E14CFDB}" srcOrd="1" destOrd="0" presId="urn:microsoft.com/office/officeart/2005/8/layout/cycle4#1"/>
    <dgm:cxn modelId="{A9C70FE1-FEE1-444A-8A2F-ACD934E29146}" srcId="{D001D4DA-89F2-624D-9202-A34DEAA6BD39}" destId="{A1CECFD3-8C70-4623-A644-D27E3B5C64A5}" srcOrd="3" destOrd="0" parTransId="{ED6DED9C-955C-4468-BF99-6E219E34FC52}" sibTransId="{D51DA48E-409B-4F1D-ABF7-B84A714CCF88}"/>
    <dgm:cxn modelId="{A0487963-8718-4C3D-AF9D-CFD9CA0E4E9E}" srcId="{D001D4DA-89F2-624D-9202-A34DEAA6BD39}" destId="{7CB7D593-1AD9-438E-971F-37332A7D91C3}" srcOrd="0" destOrd="0" parTransId="{8DC4F952-42E7-4E49-9307-8B9271AAC8D4}" sibTransId="{7E75A0A9-ED1D-471F-9D52-48A4E24FE0D8}"/>
    <dgm:cxn modelId="{B21A98BC-B0AE-42F1-8491-7B36089E3B3F}" type="presOf" srcId="{1987FD21-CA13-47AC-AE40-9CDD84A73E09}" destId="{C24044AF-5D1C-BD4D-9165-536EE384464E}" srcOrd="1" destOrd="2" presId="urn:microsoft.com/office/officeart/2005/8/layout/cycle4#1"/>
    <dgm:cxn modelId="{FB35DF52-8205-4B3E-A53D-404F9708485A}" type="presOf" srcId="{2A2267ED-4880-C24D-9E0C-0C2623274E68}" destId="{1A704921-3DC4-8348-86D1-5ECECC72C4AD}" srcOrd="0" destOrd="0" presId="urn:microsoft.com/office/officeart/2005/8/layout/cycle4#1"/>
    <dgm:cxn modelId="{5921018A-7711-AF41-9D0B-CA74D0AEC758}" srcId="{57F6B9AA-36E2-8448-8C6F-E87EDB932E52}" destId="{8180327B-8915-2A40-BCCD-D4F9055C6CBF}" srcOrd="0" destOrd="0" parTransId="{67C7BDB7-DF5A-0647-9585-2BC48C3C2B27}" sibTransId="{239283E8-ABFC-EB4E-86E8-19758C8DA426}"/>
    <dgm:cxn modelId="{FDAF1641-E031-4A25-A17A-E68CBA75268A}" type="presOf" srcId="{7EC1A122-40CF-4D3A-96C3-AC534008E142}" destId="{22EF81F5-061A-2645-84CE-64313B794D28}" srcOrd="0" destOrd="1" presId="urn:microsoft.com/office/officeart/2005/8/layout/cycle4#1"/>
    <dgm:cxn modelId="{C74A42B8-8E3E-A540-9BAA-9EF9C365B257}" srcId="{2A2267ED-4880-C24D-9E0C-0C2623274E68}" destId="{57F6B9AA-36E2-8448-8C6F-E87EDB932E52}" srcOrd="0" destOrd="0" parTransId="{979E5B3F-C83A-044E-B8F6-D3B35EA844AC}" sibTransId="{BCAFAF92-0D5B-1046-8D1A-E1A152AA6276}"/>
    <dgm:cxn modelId="{0DCB8BD0-B7C8-4424-A44F-AB41D22E12A6}" srcId="{D001D4DA-89F2-624D-9202-A34DEAA6BD39}" destId="{7AECB4D7-B716-40DC-AA70-55417CBFBDA8}" srcOrd="4" destOrd="0" parTransId="{4487F3A6-0A16-471C-A0DA-2CA38FB4157D}" sibTransId="{BF9CABC1-7E4A-4AB3-9C45-11B429771015}"/>
    <dgm:cxn modelId="{E05A53E2-0D62-4110-A635-E6BB46A6D766}" type="presOf" srcId="{7EC1A122-40CF-4D3A-96C3-AC534008E142}" destId="{C1095740-E50A-B644-8E27-02FB3E14CFDB}" srcOrd="1" destOrd="1" presId="urn:microsoft.com/office/officeart/2005/8/layout/cycle4#1"/>
    <dgm:cxn modelId="{F208932F-73A3-4C54-85F6-D589999EDBDC}" type="presOf" srcId="{5874C93A-3257-4D3F-9A2A-497927A7A982}" destId="{C1095740-E50A-B644-8E27-02FB3E14CFDB}" srcOrd="1" destOrd="2" presId="urn:microsoft.com/office/officeart/2005/8/layout/cycle4#1"/>
    <dgm:cxn modelId="{DC2592C1-4BA4-40B5-B6BB-30308F8F238F}" type="presOf" srcId="{57F6B9AA-36E2-8448-8C6F-E87EDB932E52}" destId="{27E172A4-0CA0-2448-B0B4-F1AAE8039D0D}" srcOrd="0" destOrd="0" presId="urn:microsoft.com/office/officeart/2005/8/layout/cycle4#1"/>
    <dgm:cxn modelId="{3C9318DA-3411-4A63-968D-A1380DC6984C}" type="presOf" srcId="{8180327B-8915-2A40-BCCD-D4F9055C6CBF}" destId="{A10572C0-4F2E-6B43-8E42-DD99144DF619}" srcOrd="0" destOrd="0" presId="urn:microsoft.com/office/officeart/2005/8/layout/cycle4#1"/>
    <dgm:cxn modelId="{ED0A2AC4-EE41-094D-8AA1-4B14969C19C3}" srcId="{2A2267ED-4880-C24D-9E0C-0C2623274E68}" destId="{D001D4DA-89F2-624D-9202-A34DEAA6BD39}" srcOrd="2" destOrd="0" parTransId="{ED6962F3-DFA1-494F-B75B-823FCEEF8CF0}" sibTransId="{913BECD4-E9ED-1845-84EC-0DB587791F3D}"/>
    <dgm:cxn modelId="{C9A319D3-3F40-4D32-BA00-1AC248AC5984}" srcId="{D001D4DA-89F2-624D-9202-A34DEAA6BD39}" destId="{7EC1A122-40CF-4D3A-96C3-AC534008E142}" srcOrd="1" destOrd="0" parTransId="{7BF0E8C9-C7E8-421D-84FF-FA7C94BE5261}" sibTransId="{2114105A-ADB6-42AC-97D0-5905BFDD4A38}"/>
    <dgm:cxn modelId="{AA6088BB-700A-49A8-A3FB-AEA09E6E1068}" srcId="{0FD3A03A-FDF6-6F4B-8A10-5D7EFED5D8AD}" destId="{82B03165-B1AE-47F1-A49C-BEC1DE4A355D}" srcOrd="1" destOrd="0" parTransId="{BD882C6C-77C9-4085-99A6-4338A5270101}" sibTransId="{7687049D-FE71-4D99-9F3B-441F6BC6B513}"/>
    <dgm:cxn modelId="{FF49ECC2-4FB3-4351-9DFF-3D4268DDDD21}" srcId="{D001D4DA-89F2-624D-9202-A34DEAA6BD39}" destId="{5874C93A-3257-4D3F-9A2A-497927A7A982}" srcOrd="2" destOrd="0" parTransId="{882E1E5A-6272-40C0-999B-3BB2D80B7F8F}" sibTransId="{91B7E49D-C967-45D6-95B9-A869D9F8D3DA}"/>
    <dgm:cxn modelId="{B8F28EBF-54C4-4F67-A532-5DE1937749A6}" type="presOf" srcId="{1987FD21-CA13-47AC-AE40-9CDD84A73E09}" destId="{E26DD43A-0FCA-5D4C-8BFD-59A254D60C11}" srcOrd="0" destOrd="2" presId="urn:microsoft.com/office/officeart/2005/8/layout/cycle4#1"/>
    <dgm:cxn modelId="{D23B7771-60D4-401B-9C36-C3B09F485645}" type="presOf" srcId="{5874C93A-3257-4D3F-9A2A-497927A7A982}" destId="{22EF81F5-061A-2645-84CE-64313B794D28}" srcOrd="0" destOrd="2" presId="urn:microsoft.com/office/officeart/2005/8/layout/cycle4#1"/>
    <dgm:cxn modelId="{AD0A87C4-F124-48D5-8D25-ED31901096F1}" type="presOf" srcId="{8D9B5552-7559-4000-A939-BC17E949DDF1}" destId="{E26DD43A-0FCA-5D4C-8BFD-59A254D60C11}" srcOrd="0" destOrd="0" presId="urn:microsoft.com/office/officeart/2005/8/layout/cycle4#1"/>
    <dgm:cxn modelId="{5F09B6D4-8822-4B78-8795-9824D202F426}" type="presOf" srcId="{7AECB4D7-B716-40DC-AA70-55417CBFBDA8}" destId="{22EF81F5-061A-2645-84CE-64313B794D28}" srcOrd="0" destOrd="4" presId="urn:microsoft.com/office/officeart/2005/8/layout/cycle4#1"/>
    <dgm:cxn modelId="{D660D544-DB68-485C-A475-940D32ABD218}" type="presOf" srcId="{7CB7D593-1AD9-438E-971F-37332A7D91C3}" destId="{22EF81F5-061A-2645-84CE-64313B794D28}" srcOrd="0" destOrd="0" presId="urn:microsoft.com/office/officeart/2005/8/layout/cycle4#1"/>
    <dgm:cxn modelId="{C9B281E2-F0F3-4868-8E55-77EB99EB27B4}" type="presOf" srcId="{A0EE86A4-E78D-CD40-A496-C6A8A8255061}" destId="{A829D666-C738-BF4D-AC2E-F4E2DBC5BB45}" srcOrd="0" destOrd="0" presId="urn:microsoft.com/office/officeart/2005/8/layout/cycle4#1"/>
    <dgm:cxn modelId="{A68A9072-BDE4-4147-B680-FF66CC65110C}" srcId="{0FD3A03A-FDF6-6F4B-8A10-5D7EFED5D8AD}" destId="{1987FD21-CA13-47AC-AE40-9CDD84A73E09}" srcOrd="2" destOrd="0" parTransId="{D36526C9-BF97-4A83-A860-1ABC0AEA5D45}" sibTransId="{7BD02840-F8AB-44D5-BB62-515A75A721B8}"/>
    <dgm:cxn modelId="{7A900B33-3238-4C34-9AA8-39C01758B24C}" type="presOf" srcId="{765630B6-8ABC-2F4B-A616-9148F8C7E756}" destId="{71D99AE5-2635-2E4A-87AE-B26E5B907114}" srcOrd="0" destOrd="0" presId="urn:microsoft.com/office/officeart/2005/8/layout/cycle4#1"/>
    <dgm:cxn modelId="{EB5C0545-4DE6-4E2D-A81C-B1DF604C4EC3}" type="presOf" srcId="{82B03165-B1AE-47F1-A49C-BEC1DE4A355D}" destId="{C24044AF-5D1C-BD4D-9165-536EE384464E}" srcOrd="1" destOrd="1" presId="urn:microsoft.com/office/officeart/2005/8/layout/cycle4#1"/>
    <dgm:cxn modelId="{F2D36C38-64A7-4F28-AE6C-9ADF3218E394}" type="presParOf" srcId="{1A704921-3DC4-8348-86D1-5ECECC72C4AD}" destId="{9630D4FA-6D22-AB4D-BF3E-D8BC3DDE36FF}" srcOrd="0" destOrd="0" presId="urn:microsoft.com/office/officeart/2005/8/layout/cycle4#1"/>
    <dgm:cxn modelId="{CDA5FC5A-76D6-422E-AE77-85EA823ABDE4}" type="presParOf" srcId="{9630D4FA-6D22-AB4D-BF3E-D8BC3DDE36FF}" destId="{C303C480-49D2-0447-9523-9657815CE874}" srcOrd="0" destOrd="0" presId="urn:microsoft.com/office/officeart/2005/8/layout/cycle4#1"/>
    <dgm:cxn modelId="{C864E096-AAEE-44A6-B3AF-9550CF7427D8}" type="presParOf" srcId="{C303C480-49D2-0447-9523-9657815CE874}" destId="{A10572C0-4F2E-6B43-8E42-DD99144DF619}" srcOrd="0" destOrd="0" presId="urn:microsoft.com/office/officeart/2005/8/layout/cycle4#1"/>
    <dgm:cxn modelId="{C42B4BE6-624A-4015-9F88-CDD429EA19DC}" type="presParOf" srcId="{C303C480-49D2-0447-9523-9657815CE874}" destId="{97A33F7F-6806-2048-A06F-9D912471D8A8}" srcOrd="1" destOrd="0" presId="urn:microsoft.com/office/officeart/2005/8/layout/cycle4#1"/>
    <dgm:cxn modelId="{03ABEAF9-AB15-458A-A3F2-8D63DE532A32}" type="presParOf" srcId="{9630D4FA-6D22-AB4D-BF3E-D8BC3DDE36FF}" destId="{B9A786A1-6A39-6340-9987-AA9B415798C1}" srcOrd="1" destOrd="0" presId="urn:microsoft.com/office/officeart/2005/8/layout/cycle4#1"/>
    <dgm:cxn modelId="{6C3CE4C4-A4FE-43B8-AA8D-97518402599A}" type="presParOf" srcId="{B9A786A1-6A39-6340-9987-AA9B415798C1}" destId="{A829D666-C738-BF4D-AC2E-F4E2DBC5BB45}" srcOrd="0" destOrd="0" presId="urn:microsoft.com/office/officeart/2005/8/layout/cycle4#1"/>
    <dgm:cxn modelId="{7554B2B7-1234-47E1-B9C8-33B7FCB7A130}" type="presParOf" srcId="{B9A786A1-6A39-6340-9987-AA9B415798C1}" destId="{694D58F1-920F-6649-A568-C81C65F19C65}" srcOrd="1" destOrd="0" presId="urn:microsoft.com/office/officeart/2005/8/layout/cycle4#1"/>
    <dgm:cxn modelId="{35158A4E-3C06-4259-A7AB-2B7ACAECEFB4}" type="presParOf" srcId="{9630D4FA-6D22-AB4D-BF3E-D8BC3DDE36FF}" destId="{0E51F173-A2A3-DE46-91D0-2F5FBE306522}" srcOrd="2" destOrd="0" presId="urn:microsoft.com/office/officeart/2005/8/layout/cycle4#1"/>
    <dgm:cxn modelId="{1E85E141-35A7-4F1B-B9D3-6C9346D7C638}" type="presParOf" srcId="{0E51F173-A2A3-DE46-91D0-2F5FBE306522}" destId="{22EF81F5-061A-2645-84CE-64313B794D28}" srcOrd="0" destOrd="0" presId="urn:microsoft.com/office/officeart/2005/8/layout/cycle4#1"/>
    <dgm:cxn modelId="{05DAAF32-869B-48DE-8BCE-132355CA0E49}" type="presParOf" srcId="{0E51F173-A2A3-DE46-91D0-2F5FBE306522}" destId="{C1095740-E50A-B644-8E27-02FB3E14CFDB}" srcOrd="1" destOrd="0" presId="urn:microsoft.com/office/officeart/2005/8/layout/cycle4#1"/>
    <dgm:cxn modelId="{65C5CF75-E176-4E2A-8AF2-E8144E384E0C}" type="presParOf" srcId="{9630D4FA-6D22-AB4D-BF3E-D8BC3DDE36FF}" destId="{94CD36FA-D4EB-B841-84C6-EA0E0267DA97}" srcOrd="3" destOrd="0" presId="urn:microsoft.com/office/officeart/2005/8/layout/cycle4#1"/>
    <dgm:cxn modelId="{0EC13854-14CB-487F-8544-B2A4ED9972AE}" type="presParOf" srcId="{94CD36FA-D4EB-B841-84C6-EA0E0267DA97}" destId="{E26DD43A-0FCA-5D4C-8BFD-59A254D60C11}" srcOrd="0" destOrd="0" presId="urn:microsoft.com/office/officeart/2005/8/layout/cycle4#1"/>
    <dgm:cxn modelId="{37DF2997-361B-4CBF-9DEC-647F0D078778}" type="presParOf" srcId="{94CD36FA-D4EB-B841-84C6-EA0E0267DA97}" destId="{C24044AF-5D1C-BD4D-9165-536EE384464E}" srcOrd="1" destOrd="0" presId="urn:microsoft.com/office/officeart/2005/8/layout/cycle4#1"/>
    <dgm:cxn modelId="{A0DBFBB3-C28C-4D09-9982-12F0512798FB}" type="presParOf" srcId="{9630D4FA-6D22-AB4D-BF3E-D8BC3DDE36FF}" destId="{9502860E-0F95-2345-A3A4-DB8620F66A1A}" srcOrd="4" destOrd="0" presId="urn:microsoft.com/office/officeart/2005/8/layout/cycle4#1"/>
    <dgm:cxn modelId="{CB6C6092-CF26-45F4-B350-DAB9A36CFA3C}" type="presParOf" srcId="{1A704921-3DC4-8348-86D1-5ECECC72C4AD}" destId="{5AE57CB8-2C37-DA42-B699-F58E88B24FFA}" srcOrd="1" destOrd="0" presId="urn:microsoft.com/office/officeart/2005/8/layout/cycle4#1"/>
    <dgm:cxn modelId="{EC5C5A35-E118-4430-B5E9-38015D1B5030}" type="presParOf" srcId="{5AE57CB8-2C37-DA42-B699-F58E88B24FFA}" destId="{27E172A4-0CA0-2448-B0B4-F1AAE8039D0D}" srcOrd="0" destOrd="0" presId="urn:microsoft.com/office/officeart/2005/8/layout/cycle4#1"/>
    <dgm:cxn modelId="{0C764D2A-E6D4-41EF-99F9-AF829A50B588}" type="presParOf" srcId="{5AE57CB8-2C37-DA42-B699-F58E88B24FFA}" destId="{71D99AE5-2635-2E4A-87AE-B26E5B907114}" srcOrd="1" destOrd="0" presId="urn:microsoft.com/office/officeart/2005/8/layout/cycle4#1"/>
    <dgm:cxn modelId="{ED3763CC-88BE-4CA1-B2CB-9BDDE234A552}" type="presParOf" srcId="{5AE57CB8-2C37-DA42-B699-F58E88B24FFA}" destId="{DEAF38D9-AD7F-6D46-AC55-677EFDA027CD}" srcOrd="2" destOrd="0" presId="urn:microsoft.com/office/officeart/2005/8/layout/cycle4#1"/>
    <dgm:cxn modelId="{29A11B04-90AC-44CE-BC61-E2F836B7D07C}" type="presParOf" srcId="{5AE57CB8-2C37-DA42-B699-F58E88B24FFA}" destId="{A70122BE-F2BA-1048-9606-267CCA13E516}" srcOrd="3" destOrd="0" presId="urn:microsoft.com/office/officeart/2005/8/layout/cycle4#1"/>
    <dgm:cxn modelId="{1E5E3D1B-C064-4F2D-A8A0-55540A0156D8}" type="presParOf" srcId="{5AE57CB8-2C37-DA42-B699-F58E88B24FFA}" destId="{6B820024-FF22-1748-9758-CDE82FFAD462}" srcOrd="4" destOrd="0" presId="urn:microsoft.com/office/officeart/2005/8/layout/cycle4#1"/>
    <dgm:cxn modelId="{983590FD-D6C3-4233-8047-21785BF211E0}" type="presParOf" srcId="{1A704921-3DC4-8348-86D1-5ECECC72C4AD}" destId="{0E776968-413C-5149-BCB3-5BA264C05050}" srcOrd="2" destOrd="0" presId="urn:microsoft.com/office/officeart/2005/8/layout/cycle4#1"/>
    <dgm:cxn modelId="{4B492C3B-C566-4F07-8E5F-35D8ED8A2EDD}" type="presParOf" srcId="{1A704921-3DC4-8348-86D1-5ECECC72C4AD}" destId="{54910C1B-7411-034C-975D-F5DFE0A503F5}" srcOrd="3" destOrd="0" presId="urn:microsoft.com/office/officeart/2005/8/layout/cycle4#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1973AD99-D7E4-47F3-A294-C4D12F58352C}" type="doc">
      <dgm:prSet loTypeId="urn:microsoft.com/office/officeart/2005/8/layout/process3#1" loCatId="process" qsTypeId="urn:microsoft.com/office/officeart/2005/8/quickstyle/simple1#3" qsCatId="simple" csTypeId="urn:microsoft.com/office/officeart/2005/8/colors/colorful3#1" csCatId="colorful" phldr="1"/>
      <dgm:spPr/>
      <dgm:t>
        <a:bodyPr/>
        <a:lstStyle/>
        <a:p>
          <a:endParaRPr lang="en-MY"/>
        </a:p>
      </dgm:t>
    </dgm:pt>
    <dgm:pt modelId="{9CE3753E-A0FD-45BB-8BED-7ABF82BEB767}">
      <dgm:prSet phldrT="[Text]"/>
      <dgm:spPr/>
      <dgm:t>
        <a:bodyPr/>
        <a:lstStyle/>
        <a:p>
          <a:r>
            <a:rPr lang="en-US" dirty="0" smtClean="0">
              <a:latin typeface="Arial" panose="020B0604020202020204" pitchFamily="34" charset="0"/>
              <a:cs typeface="Arial" panose="020B0604020202020204" pitchFamily="34" charset="0"/>
            </a:rPr>
            <a:t>Di </a:t>
          </a:r>
          <a:r>
            <a:rPr lang="en-US" dirty="0" err="1" smtClean="0">
              <a:latin typeface="Arial" panose="020B0604020202020204" pitchFamily="34" charset="0"/>
              <a:cs typeface="Arial" panose="020B0604020202020204" pitchFamily="34" charset="0"/>
            </a:rPr>
            <a:t>mana</a:t>
          </a:r>
          <a:r>
            <a:rPr lang="en-US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dirty="0" err="1" smtClean="0">
              <a:latin typeface="Arial" panose="020B0604020202020204" pitchFamily="34" charset="0"/>
              <a:cs typeface="Arial" panose="020B0604020202020204" pitchFamily="34" charset="0"/>
            </a:rPr>
            <a:t>kita</a:t>
          </a:r>
          <a:r>
            <a:rPr lang="en-US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dirty="0" err="1" smtClean="0">
              <a:latin typeface="Arial" panose="020B0604020202020204" pitchFamily="34" charset="0"/>
              <a:cs typeface="Arial" panose="020B0604020202020204" pitchFamily="34" charset="0"/>
            </a:rPr>
            <a:t>sekarang</a:t>
          </a:r>
          <a:r>
            <a:rPr lang="en-US" dirty="0" smtClean="0">
              <a:latin typeface="Arial" panose="020B0604020202020204" pitchFamily="34" charset="0"/>
              <a:cs typeface="Arial" panose="020B0604020202020204" pitchFamily="34" charset="0"/>
            </a:rPr>
            <a:t>?</a:t>
          </a:r>
          <a:endParaRPr lang="en-MY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6EA8C69-3C1C-44CF-A432-0126C2E38BAB}" type="parTrans" cxnId="{2F191C05-E3B4-403B-8C46-0CDE406CD91F}">
      <dgm:prSet/>
      <dgm:spPr/>
      <dgm:t>
        <a:bodyPr/>
        <a:lstStyle/>
        <a:p>
          <a:endParaRPr lang="en-MY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A7E99C7-888B-4E55-8FDA-5F679360F22E}" type="sibTrans" cxnId="{2F191C05-E3B4-403B-8C46-0CDE406CD91F}">
      <dgm:prSet/>
      <dgm:spPr/>
      <dgm:t>
        <a:bodyPr/>
        <a:lstStyle/>
        <a:p>
          <a:endParaRPr lang="en-MY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AF8DC58-FCA6-4B9D-AA91-FDA4A7939B28}">
      <dgm:prSet phldrT="[Text]"/>
      <dgm:spPr/>
      <dgm:t>
        <a:bodyPr/>
        <a:lstStyle/>
        <a:p>
          <a:r>
            <a:rPr lang="en-US" dirty="0" err="1" smtClean="0">
              <a:latin typeface="Arial" panose="020B0604020202020204" pitchFamily="34" charset="0"/>
              <a:cs typeface="Arial" panose="020B0604020202020204" pitchFamily="34" charset="0"/>
            </a:rPr>
            <a:t>Keadaan</a:t>
          </a:r>
          <a:r>
            <a:rPr lang="en-US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dirty="0" err="1" smtClean="0">
              <a:latin typeface="Arial" panose="020B0604020202020204" pitchFamily="34" charset="0"/>
              <a:cs typeface="Arial" panose="020B0604020202020204" pitchFamily="34" charset="0"/>
            </a:rPr>
            <a:t>semasa</a:t>
          </a:r>
          <a:r>
            <a:rPr lang="en-US" dirty="0" smtClean="0">
              <a:latin typeface="Arial" panose="020B0604020202020204" pitchFamily="34" charset="0"/>
              <a:cs typeface="Arial" panose="020B0604020202020204" pitchFamily="34" charset="0"/>
            </a:rPr>
            <a:t>  (status quo)</a:t>
          </a:r>
          <a:endParaRPr lang="en-MY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8BDDBB3-2F9B-40C2-AB6B-B5531172819B}" type="parTrans" cxnId="{182F3432-E9D7-4501-AE89-1999D414A71F}">
      <dgm:prSet/>
      <dgm:spPr/>
      <dgm:t>
        <a:bodyPr/>
        <a:lstStyle/>
        <a:p>
          <a:endParaRPr lang="en-MY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493C90C-8047-43B1-8C77-A3E6E5E7A45D}" type="sibTrans" cxnId="{182F3432-E9D7-4501-AE89-1999D414A71F}">
      <dgm:prSet/>
      <dgm:spPr/>
      <dgm:t>
        <a:bodyPr/>
        <a:lstStyle/>
        <a:p>
          <a:endParaRPr lang="en-MY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E5F661F-CDB5-47E5-8C9C-E63E62A270E9}">
      <dgm:prSet phldrT="[Text]"/>
      <dgm:spPr/>
      <dgm:t>
        <a:bodyPr/>
        <a:lstStyle/>
        <a:p>
          <a:r>
            <a:rPr lang="en-US" dirty="0" err="1" smtClean="0">
              <a:latin typeface="Arial" panose="020B0604020202020204" pitchFamily="34" charset="0"/>
              <a:cs typeface="Arial" panose="020B0604020202020204" pitchFamily="34" charset="0"/>
            </a:rPr>
            <a:t>Apa</a:t>
          </a:r>
          <a:r>
            <a:rPr lang="en-US" dirty="0" smtClean="0">
              <a:latin typeface="Arial" panose="020B0604020202020204" pitchFamily="34" charset="0"/>
              <a:cs typeface="Arial" panose="020B0604020202020204" pitchFamily="34" charset="0"/>
            </a:rPr>
            <a:t> yang </a:t>
          </a:r>
          <a:r>
            <a:rPr lang="en-US" dirty="0" err="1" smtClean="0">
              <a:latin typeface="Arial" panose="020B0604020202020204" pitchFamily="34" charset="0"/>
              <a:cs typeface="Arial" panose="020B0604020202020204" pitchFamily="34" charset="0"/>
            </a:rPr>
            <a:t>ingin</a:t>
          </a:r>
          <a:r>
            <a:rPr lang="en-US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dirty="0" err="1" smtClean="0">
              <a:latin typeface="Arial" panose="020B0604020202020204" pitchFamily="34" charset="0"/>
              <a:cs typeface="Arial" panose="020B0604020202020204" pitchFamily="34" charset="0"/>
            </a:rPr>
            <a:t>kita</a:t>
          </a:r>
          <a:r>
            <a:rPr lang="en-US" dirty="0" smtClean="0">
              <a:latin typeface="Arial" panose="020B0604020202020204" pitchFamily="34" charset="0"/>
              <a:cs typeface="Arial" panose="020B0604020202020204" pitchFamily="34" charset="0"/>
            </a:rPr>
            <a:t>  </a:t>
          </a:r>
          <a:r>
            <a:rPr lang="en-US" dirty="0" err="1" smtClean="0">
              <a:latin typeface="Arial" panose="020B0604020202020204" pitchFamily="34" charset="0"/>
              <a:cs typeface="Arial" panose="020B0604020202020204" pitchFamily="34" charset="0"/>
            </a:rPr>
            <a:t>bina</a:t>
          </a:r>
          <a:r>
            <a:rPr lang="en-US" dirty="0" smtClean="0">
              <a:latin typeface="Arial" panose="020B0604020202020204" pitchFamily="34" charset="0"/>
              <a:cs typeface="Arial" panose="020B0604020202020204" pitchFamily="34" charset="0"/>
            </a:rPr>
            <a:t>?</a:t>
          </a:r>
          <a:endParaRPr lang="en-MY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77AF7B9-B81C-44B5-865F-AA46647CD09D}" type="parTrans" cxnId="{10083D17-B05F-464A-AA77-0F11791FB524}">
      <dgm:prSet/>
      <dgm:spPr/>
      <dgm:t>
        <a:bodyPr/>
        <a:lstStyle/>
        <a:p>
          <a:endParaRPr lang="en-MY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31A0D82-847E-482E-872A-35812CABFA58}" type="sibTrans" cxnId="{10083D17-B05F-464A-AA77-0F11791FB524}">
      <dgm:prSet/>
      <dgm:spPr/>
      <dgm:t>
        <a:bodyPr/>
        <a:lstStyle/>
        <a:p>
          <a:endParaRPr lang="en-MY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73E0C1A-DD80-44A6-89DC-EE333EF15905}">
      <dgm:prSet phldrT="[Text]"/>
      <dgm:spPr/>
      <dgm:t>
        <a:bodyPr/>
        <a:lstStyle/>
        <a:p>
          <a:r>
            <a:rPr lang="en-US" dirty="0" err="1" smtClean="0">
              <a:latin typeface="Arial" panose="020B0604020202020204" pitchFamily="34" charset="0"/>
              <a:cs typeface="Arial" panose="020B0604020202020204" pitchFamily="34" charset="0"/>
            </a:rPr>
            <a:t>Keadaan</a:t>
          </a:r>
          <a:r>
            <a:rPr lang="en-US" dirty="0" smtClean="0">
              <a:latin typeface="Arial" panose="020B0604020202020204" pitchFamily="34" charset="0"/>
              <a:cs typeface="Arial" panose="020B0604020202020204" pitchFamily="34" charset="0"/>
            </a:rPr>
            <a:t> yang </a:t>
          </a:r>
          <a:r>
            <a:rPr lang="en-US" dirty="0" err="1" smtClean="0">
              <a:latin typeface="Arial" panose="020B0604020202020204" pitchFamily="34" charset="0"/>
              <a:cs typeface="Arial" panose="020B0604020202020204" pitchFamily="34" charset="0"/>
            </a:rPr>
            <a:t>dikehendaki</a:t>
          </a:r>
          <a:endParaRPr lang="en-MY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848EF1B-8BF2-42E5-8EFA-CF41158DD0A1}" type="parTrans" cxnId="{2128106F-DCF3-4607-A0E1-2A04DF83C68C}">
      <dgm:prSet/>
      <dgm:spPr/>
      <dgm:t>
        <a:bodyPr/>
        <a:lstStyle/>
        <a:p>
          <a:endParaRPr lang="en-MY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341ED59-B349-48AA-AF35-E6FF810E05F4}" type="sibTrans" cxnId="{2128106F-DCF3-4607-A0E1-2A04DF83C68C}">
      <dgm:prSet/>
      <dgm:spPr/>
      <dgm:t>
        <a:bodyPr/>
        <a:lstStyle/>
        <a:p>
          <a:endParaRPr lang="en-MY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0B892BC-5932-4E7E-B619-6E73DFCD1D80}" type="pres">
      <dgm:prSet presAssocID="{1973AD99-D7E4-47F3-A294-C4D12F58352C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ms-MY"/>
        </a:p>
      </dgm:t>
    </dgm:pt>
    <dgm:pt modelId="{1446A607-6F80-42C9-B4C4-D512F0DC802A}" type="pres">
      <dgm:prSet presAssocID="{9CE3753E-A0FD-45BB-8BED-7ABF82BEB767}" presName="composite" presStyleCnt="0"/>
      <dgm:spPr/>
    </dgm:pt>
    <dgm:pt modelId="{EF0D4D3A-7B0A-4C4E-8DAB-E133F6E5062F}" type="pres">
      <dgm:prSet presAssocID="{9CE3753E-A0FD-45BB-8BED-7ABF82BEB767}" presName="parTx" presStyleLbl="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ms-MY"/>
        </a:p>
      </dgm:t>
    </dgm:pt>
    <dgm:pt modelId="{FC61E49A-4027-4BBC-8914-8AC75CF6DF8F}" type="pres">
      <dgm:prSet presAssocID="{9CE3753E-A0FD-45BB-8BED-7ABF82BEB767}" presName="parSh" presStyleLbl="node1" presStyleIdx="0" presStyleCnt="2"/>
      <dgm:spPr/>
      <dgm:t>
        <a:bodyPr/>
        <a:lstStyle/>
        <a:p>
          <a:endParaRPr lang="ms-MY"/>
        </a:p>
      </dgm:t>
    </dgm:pt>
    <dgm:pt modelId="{28B41C02-5BFC-49C5-B42D-EBED10C924E1}" type="pres">
      <dgm:prSet presAssocID="{9CE3753E-A0FD-45BB-8BED-7ABF82BEB767}" presName="desTx" presStyleLbl="fgAcc1" presStyleIdx="0" presStyleCnt="2">
        <dgm:presLayoutVars>
          <dgm:bulletEnabled val="1"/>
        </dgm:presLayoutVars>
      </dgm:prSet>
      <dgm:spPr/>
      <dgm:t>
        <a:bodyPr/>
        <a:lstStyle/>
        <a:p>
          <a:endParaRPr lang="en-MY"/>
        </a:p>
      </dgm:t>
    </dgm:pt>
    <dgm:pt modelId="{78712E39-7086-4C16-BF7E-A024246193AB}" type="pres">
      <dgm:prSet presAssocID="{4A7E99C7-888B-4E55-8FDA-5F679360F22E}" presName="sibTrans" presStyleLbl="sibTrans2D1" presStyleIdx="0" presStyleCnt="1"/>
      <dgm:spPr/>
      <dgm:t>
        <a:bodyPr/>
        <a:lstStyle/>
        <a:p>
          <a:endParaRPr lang="ms-MY"/>
        </a:p>
      </dgm:t>
    </dgm:pt>
    <dgm:pt modelId="{4C52C2A5-EAF3-46F9-AE4F-B9923BBE213E}" type="pres">
      <dgm:prSet presAssocID="{4A7E99C7-888B-4E55-8FDA-5F679360F22E}" presName="connTx" presStyleLbl="sibTrans2D1" presStyleIdx="0" presStyleCnt="1"/>
      <dgm:spPr/>
      <dgm:t>
        <a:bodyPr/>
        <a:lstStyle/>
        <a:p>
          <a:endParaRPr lang="ms-MY"/>
        </a:p>
      </dgm:t>
    </dgm:pt>
    <dgm:pt modelId="{8FB00F5B-31CF-470B-BF9B-5207F5B19D04}" type="pres">
      <dgm:prSet presAssocID="{9E5F661F-CDB5-47E5-8C9C-E63E62A270E9}" presName="composite" presStyleCnt="0"/>
      <dgm:spPr/>
    </dgm:pt>
    <dgm:pt modelId="{F94582C0-C87F-44D8-A916-5FBBE89BF09D}" type="pres">
      <dgm:prSet presAssocID="{9E5F661F-CDB5-47E5-8C9C-E63E62A270E9}" presName="parTx" presStyleLbl="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ms-MY"/>
        </a:p>
      </dgm:t>
    </dgm:pt>
    <dgm:pt modelId="{BB20D666-3197-41CD-9E35-B96A04F2B44A}" type="pres">
      <dgm:prSet presAssocID="{9E5F661F-CDB5-47E5-8C9C-E63E62A270E9}" presName="parSh" presStyleLbl="node1" presStyleIdx="1" presStyleCnt="2"/>
      <dgm:spPr/>
      <dgm:t>
        <a:bodyPr/>
        <a:lstStyle/>
        <a:p>
          <a:endParaRPr lang="ms-MY"/>
        </a:p>
      </dgm:t>
    </dgm:pt>
    <dgm:pt modelId="{15B167C4-2C93-451D-ACF6-869D935673FB}" type="pres">
      <dgm:prSet presAssocID="{9E5F661F-CDB5-47E5-8C9C-E63E62A270E9}" presName="desTx" presStyleLbl="fgAcc1" presStyleIdx="1" presStyleCnt="2">
        <dgm:presLayoutVars>
          <dgm:bulletEnabled val="1"/>
        </dgm:presLayoutVars>
      </dgm:prSet>
      <dgm:spPr/>
      <dgm:t>
        <a:bodyPr/>
        <a:lstStyle/>
        <a:p>
          <a:endParaRPr lang="ms-MY"/>
        </a:p>
      </dgm:t>
    </dgm:pt>
  </dgm:ptLst>
  <dgm:cxnLst>
    <dgm:cxn modelId="{170D0840-A746-44C5-909D-4A0649CF3ED1}" type="presOf" srcId="{9CE3753E-A0FD-45BB-8BED-7ABF82BEB767}" destId="{EF0D4D3A-7B0A-4C4E-8DAB-E133F6E5062F}" srcOrd="0" destOrd="0" presId="urn:microsoft.com/office/officeart/2005/8/layout/process3#1"/>
    <dgm:cxn modelId="{C0749123-0778-4540-8140-2BB98FEAD910}" type="presOf" srcId="{9E5F661F-CDB5-47E5-8C9C-E63E62A270E9}" destId="{BB20D666-3197-41CD-9E35-B96A04F2B44A}" srcOrd="1" destOrd="0" presId="urn:microsoft.com/office/officeart/2005/8/layout/process3#1"/>
    <dgm:cxn modelId="{9B355D17-1C93-4A81-BC5D-45EF86EDE30E}" type="presOf" srcId="{9E5F661F-CDB5-47E5-8C9C-E63E62A270E9}" destId="{F94582C0-C87F-44D8-A916-5FBBE89BF09D}" srcOrd="0" destOrd="0" presId="urn:microsoft.com/office/officeart/2005/8/layout/process3#1"/>
    <dgm:cxn modelId="{2F191C05-E3B4-403B-8C46-0CDE406CD91F}" srcId="{1973AD99-D7E4-47F3-A294-C4D12F58352C}" destId="{9CE3753E-A0FD-45BB-8BED-7ABF82BEB767}" srcOrd="0" destOrd="0" parTransId="{66EA8C69-3C1C-44CF-A432-0126C2E38BAB}" sibTransId="{4A7E99C7-888B-4E55-8FDA-5F679360F22E}"/>
    <dgm:cxn modelId="{2128106F-DCF3-4607-A0E1-2A04DF83C68C}" srcId="{9E5F661F-CDB5-47E5-8C9C-E63E62A270E9}" destId="{073E0C1A-DD80-44A6-89DC-EE333EF15905}" srcOrd="0" destOrd="0" parTransId="{C848EF1B-8BF2-42E5-8EFA-CF41158DD0A1}" sibTransId="{F341ED59-B349-48AA-AF35-E6FF810E05F4}"/>
    <dgm:cxn modelId="{10083D17-B05F-464A-AA77-0F11791FB524}" srcId="{1973AD99-D7E4-47F3-A294-C4D12F58352C}" destId="{9E5F661F-CDB5-47E5-8C9C-E63E62A270E9}" srcOrd="1" destOrd="0" parTransId="{E77AF7B9-B81C-44B5-865F-AA46647CD09D}" sibTransId="{731A0D82-847E-482E-872A-35812CABFA58}"/>
    <dgm:cxn modelId="{87B06F10-071E-4213-AEE4-9E6C82ECF8DD}" type="presOf" srcId="{9CE3753E-A0FD-45BB-8BED-7ABF82BEB767}" destId="{FC61E49A-4027-4BBC-8914-8AC75CF6DF8F}" srcOrd="1" destOrd="0" presId="urn:microsoft.com/office/officeart/2005/8/layout/process3#1"/>
    <dgm:cxn modelId="{5287F824-6A7B-45EF-937F-504ADDC43F70}" type="presOf" srcId="{073E0C1A-DD80-44A6-89DC-EE333EF15905}" destId="{15B167C4-2C93-451D-ACF6-869D935673FB}" srcOrd="0" destOrd="0" presId="urn:microsoft.com/office/officeart/2005/8/layout/process3#1"/>
    <dgm:cxn modelId="{182F3432-E9D7-4501-AE89-1999D414A71F}" srcId="{9CE3753E-A0FD-45BB-8BED-7ABF82BEB767}" destId="{AAF8DC58-FCA6-4B9D-AA91-FDA4A7939B28}" srcOrd="0" destOrd="0" parTransId="{88BDDBB3-2F9B-40C2-AB6B-B5531172819B}" sibTransId="{D493C90C-8047-43B1-8C77-A3E6E5E7A45D}"/>
    <dgm:cxn modelId="{6F7A81D9-5E0F-46DF-9DB2-0644E1C074EE}" type="presOf" srcId="{AAF8DC58-FCA6-4B9D-AA91-FDA4A7939B28}" destId="{28B41C02-5BFC-49C5-B42D-EBED10C924E1}" srcOrd="0" destOrd="0" presId="urn:microsoft.com/office/officeart/2005/8/layout/process3#1"/>
    <dgm:cxn modelId="{CECCB2E9-A793-4781-AFE9-26472C9FA08E}" type="presOf" srcId="{4A7E99C7-888B-4E55-8FDA-5F679360F22E}" destId="{4C52C2A5-EAF3-46F9-AE4F-B9923BBE213E}" srcOrd="1" destOrd="0" presId="urn:microsoft.com/office/officeart/2005/8/layout/process3#1"/>
    <dgm:cxn modelId="{B87F3623-E64C-4A7C-81BA-A313C8A6B5AA}" type="presOf" srcId="{4A7E99C7-888B-4E55-8FDA-5F679360F22E}" destId="{78712E39-7086-4C16-BF7E-A024246193AB}" srcOrd="0" destOrd="0" presId="urn:microsoft.com/office/officeart/2005/8/layout/process3#1"/>
    <dgm:cxn modelId="{8838D4D3-8F80-4953-83C2-292615197CFB}" type="presOf" srcId="{1973AD99-D7E4-47F3-A294-C4D12F58352C}" destId="{90B892BC-5932-4E7E-B619-6E73DFCD1D80}" srcOrd="0" destOrd="0" presId="urn:microsoft.com/office/officeart/2005/8/layout/process3#1"/>
    <dgm:cxn modelId="{0B20E467-E288-4B19-9E66-ED8F537BE164}" type="presParOf" srcId="{90B892BC-5932-4E7E-B619-6E73DFCD1D80}" destId="{1446A607-6F80-42C9-B4C4-D512F0DC802A}" srcOrd="0" destOrd="0" presId="urn:microsoft.com/office/officeart/2005/8/layout/process3#1"/>
    <dgm:cxn modelId="{06EDE48B-1F79-410F-9495-C0C3BF9136FC}" type="presParOf" srcId="{1446A607-6F80-42C9-B4C4-D512F0DC802A}" destId="{EF0D4D3A-7B0A-4C4E-8DAB-E133F6E5062F}" srcOrd="0" destOrd="0" presId="urn:microsoft.com/office/officeart/2005/8/layout/process3#1"/>
    <dgm:cxn modelId="{F0DEFBEF-E7A0-4126-952A-D9CF24E09CA5}" type="presParOf" srcId="{1446A607-6F80-42C9-B4C4-D512F0DC802A}" destId="{FC61E49A-4027-4BBC-8914-8AC75CF6DF8F}" srcOrd="1" destOrd="0" presId="urn:microsoft.com/office/officeart/2005/8/layout/process3#1"/>
    <dgm:cxn modelId="{823052D6-7E3F-451C-B11B-7633E56F0DAE}" type="presParOf" srcId="{1446A607-6F80-42C9-B4C4-D512F0DC802A}" destId="{28B41C02-5BFC-49C5-B42D-EBED10C924E1}" srcOrd="2" destOrd="0" presId="urn:microsoft.com/office/officeart/2005/8/layout/process3#1"/>
    <dgm:cxn modelId="{A617154B-99D7-4D59-B19E-D7710AACC6E2}" type="presParOf" srcId="{90B892BC-5932-4E7E-B619-6E73DFCD1D80}" destId="{78712E39-7086-4C16-BF7E-A024246193AB}" srcOrd="1" destOrd="0" presId="urn:microsoft.com/office/officeart/2005/8/layout/process3#1"/>
    <dgm:cxn modelId="{9A440B5C-7E03-4C74-92A5-3B348474947D}" type="presParOf" srcId="{78712E39-7086-4C16-BF7E-A024246193AB}" destId="{4C52C2A5-EAF3-46F9-AE4F-B9923BBE213E}" srcOrd="0" destOrd="0" presId="urn:microsoft.com/office/officeart/2005/8/layout/process3#1"/>
    <dgm:cxn modelId="{3FD5A618-322F-4DCC-BBF3-68895D803B89}" type="presParOf" srcId="{90B892BC-5932-4E7E-B619-6E73DFCD1D80}" destId="{8FB00F5B-31CF-470B-BF9B-5207F5B19D04}" srcOrd="2" destOrd="0" presId="urn:microsoft.com/office/officeart/2005/8/layout/process3#1"/>
    <dgm:cxn modelId="{4F0368F9-A7D8-461B-9113-29BC5EE91444}" type="presParOf" srcId="{8FB00F5B-31CF-470B-BF9B-5207F5B19D04}" destId="{F94582C0-C87F-44D8-A916-5FBBE89BF09D}" srcOrd="0" destOrd="0" presId="urn:microsoft.com/office/officeart/2005/8/layout/process3#1"/>
    <dgm:cxn modelId="{C4C8C1AF-D861-49F8-BC42-E54E74F03633}" type="presParOf" srcId="{8FB00F5B-31CF-470B-BF9B-5207F5B19D04}" destId="{BB20D666-3197-41CD-9E35-B96A04F2B44A}" srcOrd="1" destOrd="0" presId="urn:microsoft.com/office/officeart/2005/8/layout/process3#1"/>
    <dgm:cxn modelId="{5DB3A219-87EA-4710-922D-A1400D8BA97D}" type="presParOf" srcId="{8FB00F5B-31CF-470B-BF9B-5207F5B19D04}" destId="{15B167C4-2C93-451D-ACF6-869D935673FB}" srcOrd="2" destOrd="0" presId="urn:microsoft.com/office/officeart/2005/8/layout/process3#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2AAC655-3C41-4AAB-9E16-3FFAA6D45A28}" type="doc">
      <dgm:prSet loTypeId="urn:microsoft.com/office/officeart/2005/8/layout/list1#1" loCatId="list" qsTypeId="urn:microsoft.com/office/officeart/2005/8/quickstyle/simple1#4" qsCatId="simple" csTypeId="urn:microsoft.com/office/officeart/2005/8/colors/colorful3#2" csCatId="colorful" phldr="1"/>
      <dgm:spPr/>
      <dgm:t>
        <a:bodyPr/>
        <a:lstStyle/>
        <a:p>
          <a:endParaRPr lang="en-MY"/>
        </a:p>
      </dgm:t>
    </dgm:pt>
    <dgm:pt modelId="{65128521-AFF1-4E47-9804-9A1A31FFFBD0}">
      <dgm:prSet phldrT="[Text]" custT="1"/>
      <dgm:spPr/>
      <dgm:t>
        <a:bodyPr/>
        <a:lstStyle/>
        <a:p>
          <a:r>
            <a:rPr lang="en-US" sz="2000" b="1" dirty="0" err="1" smtClean="0">
              <a:latin typeface="Arial" panose="020B0604020202020204" pitchFamily="34" charset="0"/>
              <a:cs typeface="Arial" panose="020B0604020202020204" pitchFamily="34" charset="0"/>
            </a:rPr>
            <a:t>Memperuntuk</a:t>
          </a:r>
          <a:r>
            <a:rPr lang="en-US" sz="2000" b="1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b="1" dirty="0" err="1" smtClean="0">
              <a:latin typeface="Arial" panose="020B0604020202020204" pitchFamily="34" charset="0"/>
              <a:cs typeface="Arial" panose="020B0604020202020204" pitchFamily="34" charset="0"/>
            </a:rPr>
            <a:t>masa</a:t>
          </a:r>
          <a:r>
            <a:rPr lang="en-US" sz="2000" b="1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b="1" dirty="0" err="1" smtClean="0">
              <a:latin typeface="Arial" panose="020B0604020202020204" pitchFamily="34" charset="0"/>
              <a:cs typeface="Arial" panose="020B0604020202020204" pitchFamily="34" charset="0"/>
            </a:rPr>
            <a:t>untuk</a:t>
          </a:r>
          <a:r>
            <a:rPr lang="en-US" sz="2000" b="1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b="1" dirty="0" err="1" smtClean="0">
              <a:latin typeface="Arial" panose="020B0604020202020204" pitchFamily="34" charset="0"/>
              <a:cs typeface="Arial" panose="020B0604020202020204" pitchFamily="34" charset="0"/>
            </a:rPr>
            <a:t>berjumpa</a:t>
          </a:r>
          <a:r>
            <a:rPr lang="en-US" sz="2000" b="1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b="1" dirty="0" err="1" smtClean="0">
              <a:latin typeface="Arial" panose="020B0604020202020204" pitchFamily="34" charset="0"/>
              <a:cs typeface="Arial" panose="020B0604020202020204" pitchFamily="34" charset="0"/>
            </a:rPr>
            <a:t>dan</a:t>
          </a:r>
          <a:r>
            <a:rPr lang="en-US" sz="2000" b="1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b="1" dirty="0" err="1" smtClean="0">
              <a:latin typeface="Arial" panose="020B0604020202020204" pitchFamily="34" charset="0"/>
              <a:cs typeface="Arial" panose="020B0604020202020204" pitchFamily="34" charset="0"/>
            </a:rPr>
            <a:t>berbincang</a:t>
          </a:r>
          <a:endParaRPr lang="en-MY" sz="20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44176E6-C8CC-47C7-AB05-4447F6EB1C94}" type="parTrans" cxnId="{70A5830B-DC0A-49BD-ABCF-0F0D64EB2176}">
      <dgm:prSet/>
      <dgm:spPr/>
      <dgm:t>
        <a:bodyPr/>
        <a:lstStyle/>
        <a:p>
          <a:endParaRPr lang="en-MY"/>
        </a:p>
      </dgm:t>
    </dgm:pt>
    <dgm:pt modelId="{8430561A-1E49-4286-8AAF-040908452205}" type="sibTrans" cxnId="{70A5830B-DC0A-49BD-ABCF-0F0D64EB2176}">
      <dgm:prSet/>
      <dgm:spPr/>
      <dgm:t>
        <a:bodyPr/>
        <a:lstStyle/>
        <a:p>
          <a:endParaRPr lang="en-MY"/>
        </a:p>
      </dgm:t>
    </dgm:pt>
    <dgm:pt modelId="{772FDD98-0DF8-454A-A616-F64D3202586F}">
      <dgm:prSet phldrT="[Text]" custT="1"/>
      <dgm:spPr/>
      <dgm:t>
        <a:bodyPr/>
        <a:lstStyle/>
        <a:p>
          <a:r>
            <a:rPr lang="en-US" sz="2000" b="1" dirty="0" err="1" smtClean="0">
              <a:latin typeface="Arial" panose="020B0604020202020204" pitchFamily="34" charset="0"/>
              <a:cs typeface="Arial" panose="020B0604020202020204" pitchFamily="34" charset="0"/>
            </a:rPr>
            <a:t>Membentuk</a:t>
          </a:r>
          <a:r>
            <a:rPr lang="en-US" sz="2000" b="1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b="1" dirty="0" err="1" smtClean="0">
              <a:latin typeface="Arial" panose="020B0604020202020204" pitchFamily="34" charset="0"/>
              <a:cs typeface="Arial" panose="020B0604020202020204" pitchFamily="34" charset="0"/>
            </a:rPr>
            <a:t>bilik</a:t>
          </a:r>
          <a:r>
            <a:rPr lang="en-US" sz="2000" b="1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b="1" dirty="0" err="1" smtClean="0">
              <a:latin typeface="Arial" panose="020B0604020202020204" pitchFamily="34" charset="0"/>
              <a:cs typeface="Arial" panose="020B0604020202020204" pitchFamily="34" charset="0"/>
            </a:rPr>
            <a:t>atau</a:t>
          </a:r>
          <a:r>
            <a:rPr lang="en-US" sz="2000" b="1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b="1" dirty="0" err="1" smtClean="0">
              <a:latin typeface="Arial" panose="020B0604020202020204" pitchFamily="34" charset="0"/>
              <a:cs typeface="Arial" panose="020B0604020202020204" pitchFamily="34" charset="0"/>
            </a:rPr>
            <a:t>ruang</a:t>
          </a:r>
          <a:r>
            <a:rPr lang="en-US" sz="2000" b="1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b="1" dirty="0" err="1" smtClean="0">
              <a:latin typeface="Arial" panose="020B0604020202020204" pitchFamily="34" charset="0"/>
              <a:cs typeface="Arial" panose="020B0604020202020204" pitchFamily="34" charset="0"/>
            </a:rPr>
            <a:t>perbincangan</a:t>
          </a:r>
          <a:endParaRPr lang="en-MY" sz="20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DE7A14F-80CF-4D10-B48F-D49A8A379787}" type="parTrans" cxnId="{A42658B7-5984-45F7-8C54-5D3693B859DF}">
      <dgm:prSet/>
      <dgm:spPr/>
      <dgm:t>
        <a:bodyPr/>
        <a:lstStyle/>
        <a:p>
          <a:endParaRPr lang="en-MY"/>
        </a:p>
      </dgm:t>
    </dgm:pt>
    <dgm:pt modelId="{E052269D-CAEF-4B42-9379-1AF425EA6DD7}" type="sibTrans" cxnId="{A42658B7-5984-45F7-8C54-5D3693B859DF}">
      <dgm:prSet/>
      <dgm:spPr/>
      <dgm:t>
        <a:bodyPr/>
        <a:lstStyle/>
        <a:p>
          <a:endParaRPr lang="en-MY"/>
        </a:p>
      </dgm:t>
    </dgm:pt>
    <dgm:pt modelId="{67F7A8FB-96E2-4FF3-A953-530EE8522697}">
      <dgm:prSet phldrT="[Text]" custT="1"/>
      <dgm:spPr/>
      <dgm:t>
        <a:bodyPr/>
        <a:lstStyle/>
        <a:p>
          <a:r>
            <a:rPr lang="en-US" sz="2000" b="1" dirty="0" err="1" smtClean="0">
              <a:latin typeface="Arial" panose="020B0604020202020204" pitchFamily="34" charset="0"/>
              <a:cs typeface="Arial" panose="020B0604020202020204" pitchFamily="34" charset="0"/>
            </a:rPr>
            <a:t>Memberi</a:t>
          </a:r>
          <a:r>
            <a:rPr lang="en-US" sz="2000" b="1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b="1" dirty="0" err="1" smtClean="0">
              <a:latin typeface="Arial" panose="020B0604020202020204" pitchFamily="34" charset="0"/>
              <a:cs typeface="Arial" panose="020B0604020202020204" pitchFamily="34" charset="0"/>
            </a:rPr>
            <a:t>peluang</a:t>
          </a:r>
          <a:r>
            <a:rPr lang="en-US" sz="2000" b="1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b="1" dirty="0" err="1" smtClean="0">
              <a:latin typeface="Arial" panose="020B0604020202020204" pitchFamily="34" charset="0"/>
              <a:cs typeface="Arial" panose="020B0604020202020204" pitchFamily="34" charset="0"/>
            </a:rPr>
            <a:t>berkomunikasi</a:t>
          </a:r>
          <a:r>
            <a:rPr lang="en-US" sz="2000" b="1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b="1" dirty="0" err="1" smtClean="0">
              <a:latin typeface="Arial" panose="020B0604020202020204" pitchFamily="34" charset="0"/>
              <a:cs typeface="Arial" panose="020B0604020202020204" pitchFamily="34" charset="0"/>
            </a:rPr>
            <a:t>dan</a:t>
          </a:r>
          <a:r>
            <a:rPr lang="en-US" sz="2000" b="1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b="1" dirty="0" err="1" smtClean="0">
              <a:latin typeface="Arial" panose="020B0604020202020204" pitchFamily="34" charset="0"/>
              <a:cs typeface="Arial" panose="020B0604020202020204" pitchFamily="34" charset="0"/>
            </a:rPr>
            <a:t>bertukar</a:t>
          </a:r>
          <a:r>
            <a:rPr lang="en-US" sz="2000" b="1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b="1" dirty="0" err="1" smtClean="0">
              <a:latin typeface="Arial" panose="020B0604020202020204" pitchFamily="34" charset="0"/>
              <a:cs typeface="Arial" panose="020B0604020202020204" pitchFamily="34" charset="0"/>
            </a:rPr>
            <a:t>pendapat</a:t>
          </a:r>
          <a:endParaRPr lang="en-MY" sz="20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26BF687-9E53-40C1-80BA-A8E74471D3E7}" type="parTrans" cxnId="{06134D45-7874-4F52-A7D5-6EE772D49591}">
      <dgm:prSet/>
      <dgm:spPr/>
      <dgm:t>
        <a:bodyPr/>
        <a:lstStyle/>
        <a:p>
          <a:endParaRPr lang="en-MY"/>
        </a:p>
      </dgm:t>
    </dgm:pt>
    <dgm:pt modelId="{A383386E-6773-4D19-B067-00AA1B774989}" type="sibTrans" cxnId="{06134D45-7874-4F52-A7D5-6EE772D49591}">
      <dgm:prSet/>
      <dgm:spPr/>
      <dgm:t>
        <a:bodyPr/>
        <a:lstStyle/>
        <a:p>
          <a:endParaRPr lang="en-MY"/>
        </a:p>
      </dgm:t>
    </dgm:pt>
    <dgm:pt modelId="{2DAD31F1-295B-4901-B991-4DAA7EE24F61}">
      <dgm:prSet phldrT="[Text]" custT="1"/>
      <dgm:spPr/>
      <dgm:t>
        <a:bodyPr/>
        <a:lstStyle/>
        <a:p>
          <a:r>
            <a:rPr lang="en-US" sz="2000" b="1" dirty="0" err="1" smtClean="0">
              <a:latin typeface="Arial" panose="020B0604020202020204" pitchFamily="34" charset="0"/>
              <a:cs typeface="Arial" panose="020B0604020202020204" pitchFamily="34" charset="0"/>
            </a:rPr>
            <a:t>Memberi</a:t>
          </a:r>
          <a:r>
            <a:rPr lang="en-US" sz="2000" b="1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b="1" dirty="0" err="1" smtClean="0">
              <a:latin typeface="Arial" panose="020B0604020202020204" pitchFamily="34" charset="0"/>
              <a:cs typeface="Arial" panose="020B0604020202020204" pitchFamily="34" charset="0"/>
            </a:rPr>
            <a:t>lebih</a:t>
          </a:r>
          <a:r>
            <a:rPr lang="en-US" sz="2000" b="1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b="1" dirty="0" err="1" smtClean="0">
              <a:latin typeface="Arial" panose="020B0604020202020204" pitchFamily="34" charset="0"/>
              <a:cs typeface="Arial" panose="020B0604020202020204" pitchFamily="34" charset="0"/>
            </a:rPr>
            <a:t>autonomi</a:t>
          </a:r>
          <a:r>
            <a:rPr lang="en-US" sz="2000" b="1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b="1" dirty="0" err="1" smtClean="0">
              <a:latin typeface="Arial" panose="020B0604020202020204" pitchFamily="34" charset="0"/>
              <a:cs typeface="Arial" panose="020B0604020202020204" pitchFamily="34" charset="0"/>
            </a:rPr>
            <a:t>untuk</a:t>
          </a:r>
          <a:r>
            <a:rPr lang="en-US" sz="2000" b="1" dirty="0" smtClean="0">
              <a:latin typeface="Arial" panose="020B0604020202020204" pitchFamily="34" charset="0"/>
              <a:cs typeface="Arial" panose="020B0604020202020204" pitchFamily="34" charset="0"/>
            </a:rPr>
            <a:t> guru </a:t>
          </a:r>
          <a:r>
            <a:rPr lang="en-US" sz="2000" b="1" dirty="0" err="1" smtClean="0">
              <a:latin typeface="Arial" panose="020B0604020202020204" pitchFamily="34" charset="0"/>
              <a:cs typeface="Arial" panose="020B0604020202020204" pitchFamily="34" charset="0"/>
            </a:rPr>
            <a:t>bertindak</a:t>
          </a:r>
          <a:endParaRPr lang="en-MY" sz="20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1502232-74B0-4AFB-AB77-C3F385C12093}" type="parTrans" cxnId="{8AAE41B4-F3F9-4964-863E-38648BEF8732}">
      <dgm:prSet/>
      <dgm:spPr/>
      <dgm:t>
        <a:bodyPr/>
        <a:lstStyle/>
        <a:p>
          <a:endParaRPr lang="en-MY"/>
        </a:p>
      </dgm:t>
    </dgm:pt>
    <dgm:pt modelId="{8AC6BA3E-6EF5-44C1-8116-D063B08CFA58}" type="sibTrans" cxnId="{8AAE41B4-F3F9-4964-863E-38648BEF8732}">
      <dgm:prSet/>
      <dgm:spPr/>
      <dgm:t>
        <a:bodyPr/>
        <a:lstStyle/>
        <a:p>
          <a:endParaRPr lang="en-MY"/>
        </a:p>
      </dgm:t>
    </dgm:pt>
    <dgm:pt modelId="{550387B7-ACFA-4895-A2D1-48249F66E8D4}">
      <dgm:prSet phldrT="[Text]" custT="1"/>
      <dgm:spPr/>
      <dgm:t>
        <a:bodyPr/>
        <a:lstStyle/>
        <a:p>
          <a:r>
            <a:rPr lang="en-US" sz="2000" b="1" dirty="0" err="1" smtClean="0">
              <a:latin typeface="Arial" panose="020B0604020202020204" pitchFamily="34" charset="0"/>
              <a:cs typeface="Arial" panose="020B0604020202020204" pitchFamily="34" charset="0"/>
            </a:rPr>
            <a:t>Memotivasi</a:t>
          </a:r>
          <a:r>
            <a:rPr lang="en-US" sz="2000" b="1" dirty="0" smtClean="0">
              <a:latin typeface="Arial" panose="020B0604020202020204" pitchFamily="34" charset="0"/>
              <a:cs typeface="Arial" panose="020B0604020202020204" pitchFamily="34" charset="0"/>
            </a:rPr>
            <a:t>  </a:t>
          </a:r>
          <a:r>
            <a:rPr lang="en-US" sz="2000" b="1" dirty="0" err="1" smtClean="0">
              <a:latin typeface="Arial" panose="020B0604020202020204" pitchFamily="34" charset="0"/>
              <a:cs typeface="Arial" panose="020B0604020202020204" pitchFamily="34" charset="0"/>
            </a:rPr>
            <a:t>staf</a:t>
          </a:r>
          <a:r>
            <a:rPr lang="en-US" sz="2000" b="1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b="1" dirty="0" err="1" smtClean="0">
              <a:latin typeface="Arial" panose="020B0604020202020204" pitchFamily="34" charset="0"/>
              <a:cs typeface="Arial" panose="020B0604020202020204" pitchFamily="34" charset="0"/>
            </a:rPr>
            <a:t>dan</a:t>
          </a:r>
          <a:r>
            <a:rPr lang="en-US" sz="2000" b="1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b="1" dirty="0" err="1" smtClean="0">
              <a:latin typeface="Arial" panose="020B0604020202020204" pitchFamily="34" charset="0"/>
              <a:cs typeface="Arial" panose="020B0604020202020204" pitchFamily="34" charset="0"/>
            </a:rPr>
            <a:t>menyokong</a:t>
          </a:r>
          <a:r>
            <a:rPr lang="en-US" sz="2000" b="1" dirty="0" smtClean="0">
              <a:latin typeface="Arial" panose="020B0604020202020204" pitchFamily="34" charset="0"/>
              <a:cs typeface="Arial" panose="020B0604020202020204" pitchFamily="34" charset="0"/>
            </a:rPr>
            <a:t>  PLC  </a:t>
          </a:r>
          <a:r>
            <a:rPr lang="en-US" sz="2000" b="1" dirty="0" err="1" smtClean="0">
              <a:latin typeface="Arial" panose="020B0604020202020204" pitchFamily="34" charset="0"/>
              <a:cs typeface="Arial" panose="020B0604020202020204" pitchFamily="34" charset="0"/>
            </a:rPr>
            <a:t>oleh</a:t>
          </a:r>
          <a:r>
            <a:rPr lang="en-US" sz="2000" b="1" dirty="0" smtClean="0">
              <a:latin typeface="Arial" panose="020B0604020202020204" pitchFamily="34" charset="0"/>
              <a:cs typeface="Arial" panose="020B0604020202020204" pitchFamily="34" charset="0"/>
            </a:rPr>
            <a:t>  </a:t>
          </a:r>
          <a:r>
            <a:rPr lang="en-US" sz="2000" b="1" dirty="0" err="1" smtClean="0">
              <a:latin typeface="Arial" panose="020B0604020202020204" pitchFamily="34" charset="0"/>
              <a:cs typeface="Arial" panose="020B0604020202020204" pitchFamily="34" charset="0"/>
            </a:rPr>
            <a:t>pemimpin</a:t>
          </a:r>
          <a:r>
            <a:rPr lang="en-US" sz="2000" b="1" dirty="0" smtClean="0">
              <a:latin typeface="Arial" panose="020B0604020202020204" pitchFamily="34" charset="0"/>
              <a:cs typeface="Arial" panose="020B0604020202020204" pitchFamily="34" charset="0"/>
            </a:rPr>
            <a:t>   </a:t>
          </a:r>
          <a:endParaRPr lang="en-MY" sz="20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9657128-D609-420C-AC4E-28612492440F}" type="parTrans" cxnId="{0AAAD95C-7B6F-4131-8001-B8D257E7E420}">
      <dgm:prSet/>
      <dgm:spPr/>
      <dgm:t>
        <a:bodyPr/>
        <a:lstStyle/>
        <a:p>
          <a:endParaRPr lang="en-MY"/>
        </a:p>
      </dgm:t>
    </dgm:pt>
    <dgm:pt modelId="{844D0D30-1538-4DF8-84BD-E64BAB73D671}" type="sibTrans" cxnId="{0AAAD95C-7B6F-4131-8001-B8D257E7E420}">
      <dgm:prSet/>
      <dgm:spPr/>
      <dgm:t>
        <a:bodyPr/>
        <a:lstStyle/>
        <a:p>
          <a:endParaRPr lang="en-MY"/>
        </a:p>
      </dgm:t>
    </dgm:pt>
    <dgm:pt modelId="{9A8D5349-C0C0-4663-B8AC-C2EDC7440E6B}" type="pres">
      <dgm:prSet presAssocID="{C2AAC655-3C41-4AAB-9E16-3FFAA6D45A28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ms-MY"/>
        </a:p>
      </dgm:t>
    </dgm:pt>
    <dgm:pt modelId="{61EE161E-3F0B-45FF-885C-F62C3279D95D}" type="pres">
      <dgm:prSet presAssocID="{65128521-AFF1-4E47-9804-9A1A31FFFBD0}" presName="parentLin" presStyleCnt="0"/>
      <dgm:spPr/>
      <dgm:t>
        <a:bodyPr/>
        <a:lstStyle/>
        <a:p>
          <a:endParaRPr lang="ms-MY"/>
        </a:p>
      </dgm:t>
    </dgm:pt>
    <dgm:pt modelId="{1B69E24D-4612-4DB5-AE88-2AC0FE000C0E}" type="pres">
      <dgm:prSet presAssocID="{65128521-AFF1-4E47-9804-9A1A31FFFBD0}" presName="parentLeftMargin" presStyleLbl="node1" presStyleIdx="0" presStyleCnt="5"/>
      <dgm:spPr/>
      <dgm:t>
        <a:bodyPr/>
        <a:lstStyle/>
        <a:p>
          <a:endParaRPr lang="ms-MY"/>
        </a:p>
      </dgm:t>
    </dgm:pt>
    <dgm:pt modelId="{4AF0C434-D29B-4EA7-913C-8B44A478E1BF}" type="pres">
      <dgm:prSet presAssocID="{65128521-AFF1-4E47-9804-9A1A31FFFBD0}" presName="parentText" presStyleLbl="node1" presStyleIdx="0" presStyleCnt="5" custScaleX="132993" custScaleY="144552">
        <dgm:presLayoutVars>
          <dgm:chMax val="0"/>
          <dgm:bulletEnabled val="1"/>
        </dgm:presLayoutVars>
      </dgm:prSet>
      <dgm:spPr/>
      <dgm:t>
        <a:bodyPr/>
        <a:lstStyle/>
        <a:p>
          <a:endParaRPr lang="en-MY"/>
        </a:p>
      </dgm:t>
    </dgm:pt>
    <dgm:pt modelId="{3321AA06-6EE6-42DD-B112-A06225D0259B}" type="pres">
      <dgm:prSet presAssocID="{65128521-AFF1-4E47-9804-9A1A31FFFBD0}" presName="negativeSpace" presStyleCnt="0"/>
      <dgm:spPr/>
      <dgm:t>
        <a:bodyPr/>
        <a:lstStyle/>
        <a:p>
          <a:endParaRPr lang="ms-MY"/>
        </a:p>
      </dgm:t>
    </dgm:pt>
    <dgm:pt modelId="{26B8BDEE-3761-426A-8CC4-FDA488E5084B}" type="pres">
      <dgm:prSet presAssocID="{65128521-AFF1-4E47-9804-9A1A31FFFBD0}" presName="childText" presStyleLbl="conFgAcc1" presStyleIdx="0" presStyleCnt="5">
        <dgm:presLayoutVars>
          <dgm:bulletEnabled val="1"/>
        </dgm:presLayoutVars>
      </dgm:prSet>
      <dgm:spPr/>
      <dgm:t>
        <a:bodyPr/>
        <a:lstStyle/>
        <a:p>
          <a:endParaRPr lang="ms-MY"/>
        </a:p>
      </dgm:t>
    </dgm:pt>
    <dgm:pt modelId="{2D60B84D-323A-4C68-9AD4-0DC663C22A78}" type="pres">
      <dgm:prSet presAssocID="{8430561A-1E49-4286-8AAF-040908452205}" presName="spaceBetweenRectangles" presStyleCnt="0"/>
      <dgm:spPr/>
      <dgm:t>
        <a:bodyPr/>
        <a:lstStyle/>
        <a:p>
          <a:endParaRPr lang="ms-MY"/>
        </a:p>
      </dgm:t>
    </dgm:pt>
    <dgm:pt modelId="{23ABA1DD-B2C0-47F8-B4C0-62AA2FAF1F40}" type="pres">
      <dgm:prSet presAssocID="{772FDD98-0DF8-454A-A616-F64D3202586F}" presName="parentLin" presStyleCnt="0"/>
      <dgm:spPr/>
      <dgm:t>
        <a:bodyPr/>
        <a:lstStyle/>
        <a:p>
          <a:endParaRPr lang="ms-MY"/>
        </a:p>
      </dgm:t>
    </dgm:pt>
    <dgm:pt modelId="{ED6B1BA9-B174-40FE-B8E7-6A654D9EDCD8}" type="pres">
      <dgm:prSet presAssocID="{772FDD98-0DF8-454A-A616-F64D3202586F}" presName="parentLeftMargin" presStyleLbl="node1" presStyleIdx="0" presStyleCnt="5"/>
      <dgm:spPr/>
      <dgm:t>
        <a:bodyPr/>
        <a:lstStyle/>
        <a:p>
          <a:endParaRPr lang="ms-MY"/>
        </a:p>
      </dgm:t>
    </dgm:pt>
    <dgm:pt modelId="{112A770F-6B7F-4A00-80E3-59DFCD46C7A3}" type="pres">
      <dgm:prSet presAssocID="{772FDD98-0DF8-454A-A616-F64D3202586F}" presName="parentText" presStyleLbl="node1" presStyleIdx="1" presStyleCnt="5" custScaleX="132993" custScaleY="144552">
        <dgm:presLayoutVars>
          <dgm:chMax val="0"/>
          <dgm:bulletEnabled val="1"/>
        </dgm:presLayoutVars>
      </dgm:prSet>
      <dgm:spPr/>
      <dgm:t>
        <a:bodyPr/>
        <a:lstStyle/>
        <a:p>
          <a:endParaRPr lang="ms-MY"/>
        </a:p>
      </dgm:t>
    </dgm:pt>
    <dgm:pt modelId="{FDFC1057-A3DF-4045-8D35-D5DE293C33F1}" type="pres">
      <dgm:prSet presAssocID="{772FDD98-0DF8-454A-A616-F64D3202586F}" presName="negativeSpace" presStyleCnt="0"/>
      <dgm:spPr/>
      <dgm:t>
        <a:bodyPr/>
        <a:lstStyle/>
        <a:p>
          <a:endParaRPr lang="ms-MY"/>
        </a:p>
      </dgm:t>
    </dgm:pt>
    <dgm:pt modelId="{C56F25A2-6441-4DE0-94FF-7605A930D980}" type="pres">
      <dgm:prSet presAssocID="{772FDD98-0DF8-454A-A616-F64D3202586F}" presName="childText" presStyleLbl="conFgAcc1" presStyleIdx="1" presStyleCnt="5">
        <dgm:presLayoutVars>
          <dgm:bulletEnabled val="1"/>
        </dgm:presLayoutVars>
      </dgm:prSet>
      <dgm:spPr/>
      <dgm:t>
        <a:bodyPr/>
        <a:lstStyle/>
        <a:p>
          <a:endParaRPr lang="ms-MY"/>
        </a:p>
      </dgm:t>
    </dgm:pt>
    <dgm:pt modelId="{90026D5D-265C-429E-BE01-46562C2F9ED6}" type="pres">
      <dgm:prSet presAssocID="{E052269D-CAEF-4B42-9379-1AF425EA6DD7}" presName="spaceBetweenRectangles" presStyleCnt="0"/>
      <dgm:spPr/>
      <dgm:t>
        <a:bodyPr/>
        <a:lstStyle/>
        <a:p>
          <a:endParaRPr lang="ms-MY"/>
        </a:p>
      </dgm:t>
    </dgm:pt>
    <dgm:pt modelId="{1A5EA72B-AB9C-4116-9559-D2B21E6DA1FC}" type="pres">
      <dgm:prSet presAssocID="{67F7A8FB-96E2-4FF3-A953-530EE8522697}" presName="parentLin" presStyleCnt="0"/>
      <dgm:spPr/>
      <dgm:t>
        <a:bodyPr/>
        <a:lstStyle/>
        <a:p>
          <a:endParaRPr lang="ms-MY"/>
        </a:p>
      </dgm:t>
    </dgm:pt>
    <dgm:pt modelId="{E0FA04AA-3AC4-488F-8303-8762121B2D6B}" type="pres">
      <dgm:prSet presAssocID="{67F7A8FB-96E2-4FF3-A953-530EE8522697}" presName="parentLeftMargin" presStyleLbl="node1" presStyleIdx="1" presStyleCnt="5"/>
      <dgm:spPr/>
      <dgm:t>
        <a:bodyPr/>
        <a:lstStyle/>
        <a:p>
          <a:endParaRPr lang="ms-MY"/>
        </a:p>
      </dgm:t>
    </dgm:pt>
    <dgm:pt modelId="{29E60F1A-4ECF-40EF-87B3-32A58E3BCB22}" type="pres">
      <dgm:prSet presAssocID="{67F7A8FB-96E2-4FF3-A953-530EE8522697}" presName="parentText" presStyleLbl="node1" presStyleIdx="2" presStyleCnt="5" custScaleX="132409" custScaleY="144552">
        <dgm:presLayoutVars>
          <dgm:chMax val="0"/>
          <dgm:bulletEnabled val="1"/>
        </dgm:presLayoutVars>
      </dgm:prSet>
      <dgm:spPr/>
      <dgm:t>
        <a:bodyPr/>
        <a:lstStyle/>
        <a:p>
          <a:endParaRPr lang="en-MY"/>
        </a:p>
      </dgm:t>
    </dgm:pt>
    <dgm:pt modelId="{90FA5EA0-2F42-4CD5-9FA6-6307839328B2}" type="pres">
      <dgm:prSet presAssocID="{67F7A8FB-96E2-4FF3-A953-530EE8522697}" presName="negativeSpace" presStyleCnt="0"/>
      <dgm:spPr/>
      <dgm:t>
        <a:bodyPr/>
        <a:lstStyle/>
        <a:p>
          <a:endParaRPr lang="ms-MY"/>
        </a:p>
      </dgm:t>
    </dgm:pt>
    <dgm:pt modelId="{2234A372-7E18-4E73-BB3D-D007CB3041BE}" type="pres">
      <dgm:prSet presAssocID="{67F7A8FB-96E2-4FF3-A953-530EE8522697}" presName="childText" presStyleLbl="conFgAcc1" presStyleIdx="2" presStyleCnt="5">
        <dgm:presLayoutVars>
          <dgm:bulletEnabled val="1"/>
        </dgm:presLayoutVars>
      </dgm:prSet>
      <dgm:spPr/>
      <dgm:t>
        <a:bodyPr/>
        <a:lstStyle/>
        <a:p>
          <a:endParaRPr lang="ms-MY"/>
        </a:p>
      </dgm:t>
    </dgm:pt>
    <dgm:pt modelId="{94B377CC-D821-4F02-BA82-C1AF63D2BB43}" type="pres">
      <dgm:prSet presAssocID="{A383386E-6773-4D19-B067-00AA1B774989}" presName="spaceBetweenRectangles" presStyleCnt="0"/>
      <dgm:spPr/>
      <dgm:t>
        <a:bodyPr/>
        <a:lstStyle/>
        <a:p>
          <a:endParaRPr lang="ms-MY"/>
        </a:p>
      </dgm:t>
    </dgm:pt>
    <dgm:pt modelId="{81EA4319-EE1D-4E1D-AEC5-8FF390A4D8CF}" type="pres">
      <dgm:prSet presAssocID="{550387B7-ACFA-4895-A2D1-48249F66E8D4}" presName="parentLin" presStyleCnt="0"/>
      <dgm:spPr/>
      <dgm:t>
        <a:bodyPr/>
        <a:lstStyle/>
        <a:p>
          <a:endParaRPr lang="ms-MY"/>
        </a:p>
      </dgm:t>
    </dgm:pt>
    <dgm:pt modelId="{FEB7D550-2C03-4513-8A00-C67B5FDD2A27}" type="pres">
      <dgm:prSet presAssocID="{550387B7-ACFA-4895-A2D1-48249F66E8D4}" presName="parentLeftMargin" presStyleLbl="node1" presStyleIdx="2" presStyleCnt="5"/>
      <dgm:spPr/>
      <dgm:t>
        <a:bodyPr/>
        <a:lstStyle/>
        <a:p>
          <a:endParaRPr lang="ms-MY"/>
        </a:p>
      </dgm:t>
    </dgm:pt>
    <dgm:pt modelId="{E4EB6AAD-92FF-4066-B123-7FFF8E7D2D1A}" type="pres">
      <dgm:prSet presAssocID="{550387B7-ACFA-4895-A2D1-48249F66E8D4}" presName="parentText" presStyleLbl="node1" presStyleIdx="3" presStyleCnt="5" custScaleX="132993" custScaleY="144552">
        <dgm:presLayoutVars>
          <dgm:chMax val="0"/>
          <dgm:bulletEnabled val="1"/>
        </dgm:presLayoutVars>
      </dgm:prSet>
      <dgm:spPr/>
      <dgm:t>
        <a:bodyPr/>
        <a:lstStyle/>
        <a:p>
          <a:endParaRPr lang="en-MY"/>
        </a:p>
      </dgm:t>
    </dgm:pt>
    <dgm:pt modelId="{51BBEB1A-A625-497D-95C8-64AEF74254A4}" type="pres">
      <dgm:prSet presAssocID="{550387B7-ACFA-4895-A2D1-48249F66E8D4}" presName="negativeSpace" presStyleCnt="0"/>
      <dgm:spPr/>
      <dgm:t>
        <a:bodyPr/>
        <a:lstStyle/>
        <a:p>
          <a:endParaRPr lang="ms-MY"/>
        </a:p>
      </dgm:t>
    </dgm:pt>
    <dgm:pt modelId="{940B771B-B362-4EAE-9B0E-F2A742623D3D}" type="pres">
      <dgm:prSet presAssocID="{550387B7-ACFA-4895-A2D1-48249F66E8D4}" presName="childText" presStyleLbl="conFgAcc1" presStyleIdx="3" presStyleCnt="5">
        <dgm:presLayoutVars>
          <dgm:bulletEnabled val="1"/>
        </dgm:presLayoutVars>
      </dgm:prSet>
      <dgm:spPr/>
      <dgm:t>
        <a:bodyPr/>
        <a:lstStyle/>
        <a:p>
          <a:endParaRPr lang="ms-MY"/>
        </a:p>
      </dgm:t>
    </dgm:pt>
    <dgm:pt modelId="{7E7708CD-5661-4166-92A0-A1A885AC39C5}" type="pres">
      <dgm:prSet presAssocID="{844D0D30-1538-4DF8-84BD-E64BAB73D671}" presName="spaceBetweenRectangles" presStyleCnt="0"/>
      <dgm:spPr/>
      <dgm:t>
        <a:bodyPr/>
        <a:lstStyle/>
        <a:p>
          <a:endParaRPr lang="ms-MY"/>
        </a:p>
      </dgm:t>
    </dgm:pt>
    <dgm:pt modelId="{82228022-EBC5-4D6D-B553-0CFBB6519E7D}" type="pres">
      <dgm:prSet presAssocID="{2DAD31F1-295B-4901-B991-4DAA7EE24F61}" presName="parentLin" presStyleCnt="0"/>
      <dgm:spPr/>
      <dgm:t>
        <a:bodyPr/>
        <a:lstStyle/>
        <a:p>
          <a:endParaRPr lang="ms-MY"/>
        </a:p>
      </dgm:t>
    </dgm:pt>
    <dgm:pt modelId="{3BA64C4B-26EC-4D24-BB35-B2B7799FFF2D}" type="pres">
      <dgm:prSet presAssocID="{2DAD31F1-295B-4901-B991-4DAA7EE24F61}" presName="parentLeftMargin" presStyleLbl="node1" presStyleIdx="3" presStyleCnt="5"/>
      <dgm:spPr/>
      <dgm:t>
        <a:bodyPr/>
        <a:lstStyle/>
        <a:p>
          <a:endParaRPr lang="ms-MY"/>
        </a:p>
      </dgm:t>
    </dgm:pt>
    <dgm:pt modelId="{6CAA047A-CED1-42C9-9C12-54F456884596}" type="pres">
      <dgm:prSet presAssocID="{2DAD31F1-295B-4901-B991-4DAA7EE24F61}" presName="parentText" presStyleLbl="node1" presStyleIdx="4" presStyleCnt="5" custScaleX="132993" custScaleY="144552">
        <dgm:presLayoutVars>
          <dgm:chMax val="0"/>
          <dgm:bulletEnabled val="1"/>
        </dgm:presLayoutVars>
      </dgm:prSet>
      <dgm:spPr/>
      <dgm:t>
        <a:bodyPr/>
        <a:lstStyle/>
        <a:p>
          <a:endParaRPr lang="ms-MY"/>
        </a:p>
      </dgm:t>
    </dgm:pt>
    <dgm:pt modelId="{C677F51F-BF82-43FB-AEE6-BD954B2AD794}" type="pres">
      <dgm:prSet presAssocID="{2DAD31F1-295B-4901-B991-4DAA7EE24F61}" presName="negativeSpace" presStyleCnt="0"/>
      <dgm:spPr/>
      <dgm:t>
        <a:bodyPr/>
        <a:lstStyle/>
        <a:p>
          <a:endParaRPr lang="ms-MY"/>
        </a:p>
      </dgm:t>
    </dgm:pt>
    <dgm:pt modelId="{3E8D2B15-B777-487D-9EB6-76065166C6FF}" type="pres">
      <dgm:prSet presAssocID="{2DAD31F1-295B-4901-B991-4DAA7EE24F61}" presName="childText" presStyleLbl="conFgAcc1" presStyleIdx="4" presStyleCnt="5">
        <dgm:presLayoutVars>
          <dgm:bulletEnabled val="1"/>
        </dgm:presLayoutVars>
      </dgm:prSet>
      <dgm:spPr/>
      <dgm:t>
        <a:bodyPr/>
        <a:lstStyle/>
        <a:p>
          <a:endParaRPr lang="ms-MY"/>
        </a:p>
      </dgm:t>
    </dgm:pt>
  </dgm:ptLst>
  <dgm:cxnLst>
    <dgm:cxn modelId="{5F90822D-708C-4CAD-A652-FD1F5DDD2E7F}" type="presOf" srcId="{C2AAC655-3C41-4AAB-9E16-3FFAA6D45A28}" destId="{9A8D5349-C0C0-4663-B8AC-C2EDC7440E6B}" srcOrd="0" destOrd="0" presId="urn:microsoft.com/office/officeart/2005/8/layout/list1#1"/>
    <dgm:cxn modelId="{0AAAD95C-7B6F-4131-8001-B8D257E7E420}" srcId="{C2AAC655-3C41-4AAB-9E16-3FFAA6D45A28}" destId="{550387B7-ACFA-4895-A2D1-48249F66E8D4}" srcOrd="3" destOrd="0" parTransId="{29657128-D609-420C-AC4E-28612492440F}" sibTransId="{844D0D30-1538-4DF8-84BD-E64BAB73D671}"/>
    <dgm:cxn modelId="{26658D67-1429-4125-80BD-2CD8C3AF6A09}" type="presOf" srcId="{65128521-AFF1-4E47-9804-9A1A31FFFBD0}" destId="{4AF0C434-D29B-4EA7-913C-8B44A478E1BF}" srcOrd="1" destOrd="0" presId="urn:microsoft.com/office/officeart/2005/8/layout/list1#1"/>
    <dgm:cxn modelId="{7CFA25D1-2257-429D-8FF4-62B67B94D327}" type="presOf" srcId="{2DAD31F1-295B-4901-B991-4DAA7EE24F61}" destId="{6CAA047A-CED1-42C9-9C12-54F456884596}" srcOrd="1" destOrd="0" presId="urn:microsoft.com/office/officeart/2005/8/layout/list1#1"/>
    <dgm:cxn modelId="{C00B2DC0-0B31-4591-A4C3-4A082031FA8D}" type="presOf" srcId="{550387B7-ACFA-4895-A2D1-48249F66E8D4}" destId="{FEB7D550-2C03-4513-8A00-C67B5FDD2A27}" srcOrd="0" destOrd="0" presId="urn:microsoft.com/office/officeart/2005/8/layout/list1#1"/>
    <dgm:cxn modelId="{06134D45-7874-4F52-A7D5-6EE772D49591}" srcId="{C2AAC655-3C41-4AAB-9E16-3FFAA6D45A28}" destId="{67F7A8FB-96E2-4FF3-A953-530EE8522697}" srcOrd="2" destOrd="0" parTransId="{926BF687-9E53-40C1-80BA-A8E74471D3E7}" sibTransId="{A383386E-6773-4D19-B067-00AA1B774989}"/>
    <dgm:cxn modelId="{0866FB6B-F351-413B-B3E6-671938A10DAE}" type="presOf" srcId="{550387B7-ACFA-4895-A2D1-48249F66E8D4}" destId="{E4EB6AAD-92FF-4066-B123-7FFF8E7D2D1A}" srcOrd="1" destOrd="0" presId="urn:microsoft.com/office/officeart/2005/8/layout/list1#1"/>
    <dgm:cxn modelId="{1CCC3D8D-3F4C-446D-80F0-24FE6419E518}" type="presOf" srcId="{2DAD31F1-295B-4901-B991-4DAA7EE24F61}" destId="{3BA64C4B-26EC-4D24-BB35-B2B7799FFF2D}" srcOrd="0" destOrd="0" presId="urn:microsoft.com/office/officeart/2005/8/layout/list1#1"/>
    <dgm:cxn modelId="{99BDAF21-F093-4ACA-935E-4C6A4CC7F20D}" type="presOf" srcId="{772FDD98-0DF8-454A-A616-F64D3202586F}" destId="{112A770F-6B7F-4A00-80E3-59DFCD46C7A3}" srcOrd="1" destOrd="0" presId="urn:microsoft.com/office/officeart/2005/8/layout/list1#1"/>
    <dgm:cxn modelId="{A42658B7-5984-45F7-8C54-5D3693B859DF}" srcId="{C2AAC655-3C41-4AAB-9E16-3FFAA6D45A28}" destId="{772FDD98-0DF8-454A-A616-F64D3202586F}" srcOrd="1" destOrd="0" parTransId="{EDE7A14F-80CF-4D10-B48F-D49A8A379787}" sibTransId="{E052269D-CAEF-4B42-9379-1AF425EA6DD7}"/>
    <dgm:cxn modelId="{72415F4C-514B-45BD-AABB-513E0360B2E3}" type="presOf" srcId="{65128521-AFF1-4E47-9804-9A1A31FFFBD0}" destId="{1B69E24D-4612-4DB5-AE88-2AC0FE000C0E}" srcOrd="0" destOrd="0" presId="urn:microsoft.com/office/officeart/2005/8/layout/list1#1"/>
    <dgm:cxn modelId="{D842C007-E929-45DA-B630-04CADAC41A3E}" type="presOf" srcId="{67F7A8FB-96E2-4FF3-A953-530EE8522697}" destId="{29E60F1A-4ECF-40EF-87B3-32A58E3BCB22}" srcOrd="1" destOrd="0" presId="urn:microsoft.com/office/officeart/2005/8/layout/list1#1"/>
    <dgm:cxn modelId="{B0BC7626-1716-49DC-A059-FD6003CCB74D}" type="presOf" srcId="{772FDD98-0DF8-454A-A616-F64D3202586F}" destId="{ED6B1BA9-B174-40FE-B8E7-6A654D9EDCD8}" srcOrd="0" destOrd="0" presId="urn:microsoft.com/office/officeart/2005/8/layout/list1#1"/>
    <dgm:cxn modelId="{E63626C3-5F9D-4E9E-8A45-7117B5D09696}" type="presOf" srcId="{67F7A8FB-96E2-4FF3-A953-530EE8522697}" destId="{E0FA04AA-3AC4-488F-8303-8762121B2D6B}" srcOrd="0" destOrd="0" presId="urn:microsoft.com/office/officeart/2005/8/layout/list1#1"/>
    <dgm:cxn modelId="{70A5830B-DC0A-49BD-ABCF-0F0D64EB2176}" srcId="{C2AAC655-3C41-4AAB-9E16-3FFAA6D45A28}" destId="{65128521-AFF1-4E47-9804-9A1A31FFFBD0}" srcOrd="0" destOrd="0" parTransId="{544176E6-C8CC-47C7-AB05-4447F6EB1C94}" sibTransId="{8430561A-1E49-4286-8AAF-040908452205}"/>
    <dgm:cxn modelId="{8AAE41B4-F3F9-4964-863E-38648BEF8732}" srcId="{C2AAC655-3C41-4AAB-9E16-3FFAA6D45A28}" destId="{2DAD31F1-295B-4901-B991-4DAA7EE24F61}" srcOrd="4" destOrd="0" parTransId="{41502232-74B0-4AFB-AB77-C3F385C12093}" sibTransId="{8AC6BA3E-6EF5-44C1-8116-D063B08CFA58}"/>
    <dgm:cxn modelId="{30CFF8EF-A124-4965-A0E2-217C3B4D35DF}" type="presParOf" srcId="{9A8D5349-C0C0-4663-B8AC-C2EDC7440E6B}" destId="{61EE161E-3F0B-45FF-885C-F62C3279D95D}" srcOrd="0" destOrd="0" presId="urn:microsoft.com/office/officeart/2005/8/layout/list1#1"/>
    <dgm:cxn modelId="{55EC792C-407C-4370-88B3-6FFA3CFCC0F4}" type="presParOf" srcId="{61EE161E-3F0B-45FF-885C-F62C3279D95D}" destId="{1B69E24D-4612-4DB5-AE88-2AC0FE000C0E}" srcOrd="0" destOrd="0" presId="urn:microsoft.com/office/officeart/2005/8/layout/list1#1"/>
    <dgm:cxn modelId="{E6D10F75-2A60-4123-B7CD-C1F8B8B32CCA}" type="presParOf" srcId="{61EE161E-3F0B-45FF-885C-F62C3279D95D}" destId="{4AF0C434-D29B-4EA7-913C-8B44A478E1BF}" srcOrd="1" destOrd="0" presId="urn:microsoft.com/office/officeart/2005/8/layout/list1#1"/>
    <dgm:cxn modelId="{EBA81F51-680A-446D-BAFD-AB2622944FEC}" type="presParOf" srcId="{9A8D5349-C0C0-4663-B8AC-C2EDC7440E6B}" destId="{3321AA06-6EE6-42DD-B112-A06225D0259B}" srcOrd="1" destOrd="0" presId="urn:microsoft.com/office/officeart/2005/8/layout/list1#1"/>
    <dgm:cxn modelId="{BF23F68A-8258-4B5C-92CF-613047CC45CD}" type="presParOf" srcId="{9A8D5349-C0C0-4663-B8AC-C2EDC7440E6B}" destId="{26B8BDEE-3761-426A-8CC4-FDA488E5084B}" srcOrd="2" destOrd="0" presId="urn:microsoft.com/office/officeart/2005/8/layout/list1#1"/>
    <dgm:cxn modelId="{C95D2813-58B3-45BA-8EDF-DAD2B076C8B2}" type="presParOf" srcId="{9A8D5349-C0C0-4663-B8AC-C2EDC7440E6B}" destId="{2D60B84D-323A-4C68-9AD4-0DC663C22A78}" srcOrd="3" destOrd="0" presId="urn:microsoft.com/office/officeart/2005/8/layout/list1#1"/>
    <dgm:cxn modelId="{AD154B33-3855-4714-AFA1-D912BCDF39A2}" type="presParOf" srcId="{9A8D5349-C0C0-4663-B8AC-C2EDC7440E6B}" destId="{23ABA1DD-B2C0-47F8-B4C0-62AA2FAF1F40}" srcOrd="4" destOrd="0" presId="urn:microsoft.com/office/officeart/2005/8/layout/list1#1"/>
    <dgm:cxn modelId="{C96F27E3-DE7C-463A-93E1-C28E1155CC1E}" type="presParOf" srcId="{23ABA1DD-B2C0-47F8-B4C0-62AA2FAF1F40}" destId="{ED6B1BA9-B174-40FE-B8E7-6A654D9EDCD8}" srcOrd="0" destOrd="0" presId="urn:microsoft.com/office/officeart/2005/8/layout/list1#1"/>
    <dgm:cxn modelId="{FF189F85-4448-4F05-936F-A3AF8FEDC3BE}" type="presParOf" srcId="{23ABA1DD-B2C0-47F8-B4C0-62AA2FAF1F40}" destId="{112A770F-6B7F-4A00-80E3-59DFCD46C7A3}" srcOrd="1" destOrd="0" presId="urn:microsoft.com/office/officeart/2005/8/layout/list1#1"/>
    <dgm:cxn modelId="{DB1D6D00-B6F4-4B6C-A702-7B84385E860E}" type="presParOf" srcId="{9A8D5349-C0C0-4663-B8AC-C2EDC7440E6B}" destId="{FDFC1057-A3DF-4045-8D35-D5DE293C33F1}" srcOrd="5" destOrd="0" presId="urn:microsoft.com/office/officeart/2005/8/layout/list1#1"/>
    <dgm:cxn modelId="{16C62582-2A9D-409A-A3CC-F07DE34057BB}" type="presParOf" srcId="{9A8D5349-C0C0-4663-B8AC-C2EDC7440E6B}" destId="{C56F25A2-6441-4DE0-94FF-7605A930D980}" srcOrd="6" destOrd="0" presId="urn:microsoft.com/office/officeart/2005/8/layout/list1#1"/>
    <dgm:cxn modelId="{C00BFD7D-6669-4594-8A76-BAD8A7C163FD}" type="presParOf" srcId="{9A8D5349-C0C0-4663-B8AC-C2EDC7440E6B}" destId="{90026D5D-265C-429E-BE01-46562C2F9ED6}" srcOrd="7" destOrd="0" presId="urn:microsoft.com/office/officeart/2005/8/layout/list1#1"/>
    <dgm:cxn modelId="{A18AD47B-E477-4B3B-A375-D79A9E8DE68C}" type="presParOf" srcId="{9A8D5349-C0C0-4663-B8AC-C2EDC7440E6B}" destId="{1A5EA72B-AB9C-4116-9559-D2B21E6DA1FC}" srcOrd="8" destOrd="0" presId="urn:microsoft.com/office/officeart/2005/8/layout/list1#1"/>
    <dgm:cxn modelId="{218FB7E7-0493-41AD-89B2-4CF4627F43BE}" type="presParOf" srcId="{1A5EA72B-AB9C-4116-9559-D2B21E6DA1FC}" destId="{E0FA04AA-3AC4-488F-8303-8762121B2D6B}" srcOrd="0" destOrd="0" presId="urn:microsoft.com/office/officeart/2005/8/layout/list1#1"/>
    <dgm:cxn modelId="{7B312E69-80D6-4FD8-8974-38A6E1590C37}" type="presParOf" srcId="{1A5EA72B-AB9C-4116-9559-D2B21E6DA1FC}" destId="{29E60F1A-4ECF-40EF-87B3-32A58E3BCB22}" srcOrd="1" destOrd="0" presId="urn:microsoft.com/office/officeart/2005/8/layout/list1#1"/>
    <dgm:cxn modelId="{15987217-DEAE-44A7-A5EA-E74F5A99D1A7}" type="presParOf" srcId="{9A8D5349-C0C0-4663-B8AC-C2EDC7440E6B}" destId="{90FA5EA0-2F42-4CD5-9FA6-6307839328B2}" srcOrd="9" destOrd="0" presId="urn:microsoft.com/office/officeart/2005/8/layout/list1#1"/>
    <dgm:cxn modelId="{261A1F66-ED8C-44EF-B1B7-ECBC79B466BA}" type="presParOf" srcId="{9A8D5349-C0C0-4663-B8AC-C2EDC7440E6B}" destId="{2234A372-7E18-4E73-BB3D-D007CB3041BE}" srcOrd="10" destOrd="0" presId="urn:microsoft.com/office/officeart/2005/8/layout/list1#1"/>
    <dgm:cxn modelId="{5652E3AE-B6AB-4051-B0C9-A160E8D00726}" type="presParOf" srcId="{9A8D5349-C0C0-4663-B8AC-C2EDC7440E6B}" destId="{94B377CC-D821-4F02-BA82-C1AF63D2BB43}" srcOrd="11" destOrd="0" presId="urn:microsoft.com/office/officeart/2005/8/layout/list1#1"/>
    <dgm:cxn modelId="{830A1D44-A95B-4B92-8FCE-691BF1D01329}" type="presParOf" srcId="{9A8D5349-C0C0-4663-B8AC-C2EDC7440E6B}" destId="{81EA4319-EE1D-4E1D-AEC5-8FF390A4D8CF}" srcOrd="12" destOrd="0" presId="urn:microsoft.com/office/officeart/2005/8/layout/list1#1"/>
    <dgm:cxn modelId="{2CB56BFD-745E-45D4-834B-F5A604F69662}" type="presParOf" srcId="{81EA4319-EE1D-4E1D-AEC5-8FF390A4D8CF}" destId="{FEB7D550-2C03-4513-8A00-C67B5FDD2A27}" srcOrd="0" destOrd="0" presId="urn:microsoft.com/office/officeart/2005/8/layout/list1#1"/>
    <dgm:cxn modelId="{9A53FEE1-D126-42BB-BD01-10FE938F4F0F}" type="presParOf" srcId="{81EA4319-EE1D-4E1D-AEC5-8FF390A4D8CF}" destId="{E4EB6AAD-92FF-4066-B123-7FFF8E7D2D1A}" srcOrd="1" destOrd="0" presId="urn:microsoft.com/office/officeart/2005/8/layout/list1#1"/>
    <dgm:cxn modelId="{76F679D8-72E9-4BF7-B5C4-F8ADC452B1DA}" type="presParOf" srcId="{9A8D5349-C0C0-4663-B8AC-C2EDC7440E6B}" destId="{51BBEB1A-A625-497D-95C8-64AEF74254A4}" srcOrd="13" destOrd="0" presId="urn:microsoft.com/office/officeart/2005/8/layout/list1#1"/>
    <dgm:cxn modelId="{BE4BECEE-A934-4BDC-9DA2-9C0DFDC8196B}" type="presParOf" srcId="{9A8D5349-C0C0-4663-B8AC-C2EDC7440E6B}" destId="{940B771B-B362-4EAE-9B0E-F2A742623D3D}" srcOrd="14" destOrd="0" presId="urn:microsoft.com/office/officeart/2005/8/layout/list1#1"/>
    <dgm:cxn modelId="{25F08B34-F147-41C6-904D-5142743C15F2}" type="presParOf" srcId="{9A8D5349-C0C0-4663-B8AC-C2EDC7440E6B}" destId="{7E7708CD-5661-4166-92A0-A1A885AC39C5}" srcOrd="15" destOrd="0" presId="urn:microsoft.com/office/officeart/2005/8/layout/list1#1"/>
    <dgm:cxn modelId="{83EBC666-4702-4D04-A50C-6DD11FFEAF9F}" type="presParOf" srcId="{9A8D5349-C0C0-4663-B8AC-C2EDC7440E6B}" destId="{82228022-EBC5-4D6D-B553-0CFBB6519E7D}" srcOrd="16" destOrd="0" presId="urn:microsoft.com/office/officeart/2005/8/layout/list1#1"/>
    <dgm:cxn modelId="{C19A8BD2-2A33-451D-9B81-CE7AB50376B2}" type="presParOf" srcId="{82228022-EBC5-4D6D-B553-0CFBB6519E7D}" destId="{3BA64C4B-26EC-4D24-BB35-B2B7799FFF2D}" srcOrd="0" destOrd="0" presId="urn:microsoft.com/office/officeart/2005/8/layout/list1#1"/>
    <dgm:cxn modelId="{BC31D2B5-9D7B-49FC-A206-81CC91771E61}" type="presParOf" srcId="{82228022-EBC5-4D6D-B553-0CFBB6519E7D}" destId="{6CAA047A-CED1-42C9-9C12-54F456884596}" srcOrd="1" destOrd="0" presId="urn:microsoft.com/office/officeart/2005/8/layout/list1#1"/>
    <dgm:cxn modelId="{1E00A327-3A34-49C6-A0EE-C444B4EDC1AE}" type="presParOf" srcId="{9A8D5349-C0C0-4663-B8AC-C2EDC7440E6B}" destId="{C677F51F-BF82-43FB-AEE6-BD954B2AD794}" srcOrd="17" destOrd="0" presId="urn:microsoft.com/office/officeart/2005/8/layout/list1#1"/>
    <dgm:cxn modelId="{A2D411E4-A9E4-4DE6-BFDB-C7751BDDFD8B}" type="presParOf" srcId="{9A8D5349-C0C0-4663-B8AC-C2EDC7440E6B}" destId="{3E8D2B15-B777-487D-9EB6-76065166C6FF}" srcOrd="18" destOrd="0" presId="urn:microsoft.com/office/officeart/2005/8/layout/list1#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EF81F5-061A-2645-84CE-64313B794D28}">
      <dsp:nvSpPr>
        <dsp:cNvPr id="0" name=""/>
        <dsp:cNvSpPr/>
      </dsp:nvSpPr>
      <dsp:spPr>
        <a:xfrm>
          <a:off x="5483136" y="4357746"/>
          <a:ext cx="3733144" cy="205070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noFill/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6648127" y="4915468"/>
        <a:ext cx="2523107" cy="1447934"/>
      </dsp:txXfrm>
    </dsp:sp>
    <dsp:sp modelId="{E26DD43A-0FCA-5D4C-8BFD-59A254D60C11}">
      <dsp:nvSpPr>
        <dsp:cNvPr id="0" name=""/>
        <dsp:cNvSpPr/>
      </dsp:nvSpPr>
      <dsp:spPr>
        <a:xfrm>
          <a:off x="225390" y="4357746"/>
          <a:ext cx="3754671" cy="205070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noFill/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70437" y="4915468"/>
        <a:ext cx="2538176" cy="1447934"/>
      </dsp:txXfrm>
    </dsp:sp>
    <dsp:sp modelId="{A829D666-C738-BF4D-AC2E-F4E2DBC5BB45}">
      <dsp:nvSpPr>
        <dsp:cNvPr id="0" name=""/>
        <dsp:cNvSpPr/>
      </dsp:nvSpPr>
      <dsp:spPr>
        <a:xfrm>
          <a:off x="5451225" y="0"/>
          <a:ext cx="3633422" cy="205070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noFill/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6586299" y="45047"/>
        <a:ext cx="2453301" cy="1447934"/>
      </dsp:txXfrm>
    </dsp:sp>
    <dsp:sp modelId="{A10572C0-4F2E-6B43-8E42-DD99144DF619}">
      <dsp:nvSpPr>
        <dsp:cNvPr id="0" name=""/>
        <dsp:cNvSpPr/>
      </dsp:nvSpPr>
      <dsp:spPr>
        <a:xfrm>
          <a:off x="251381" y="0"/>
          <a:ext cx="3702689" cy="205070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noFill/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96428" y="45047"/>
        <a:ext cx="2501788" cy="1447934"/>
      </dsp:txXfrm>
    </dsp:sp>
    <dsp:sp modelId="{27E172A4-0CA0-2448-B0B4-F1AAE8039D0D}">
      <dsp:nvSpPr>
        <dsp:cNvPr id="0" name=""/>
        <dsp:cNvSpPr/>
      </dsp:nvSpPr>
      <dsp:spPr>
        <a:xfrm>
          <a:off x="1841006" y="365281"/>
          <a:ext cx="2774858" cy="2774858"/>
        </a:xfrm>
        <a:prstGeom prst="pieWedge">
          <a:avLst/>
        </a:prstGeom>
        <a:solidFill>
          <a:srgbClr val="FFFF00">
            <a:alpha val="69804"/>
          </a:srgb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0" kern="1200" cap="none" spc="0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glow rad="228600">
                  <a:srgbClr val="000000"/>
                </a:glow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700" b="0" kern="1200" cap="none" spc="0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glow rad="228600">
                  <a:srgbClr val="000000"/>
                </a:glow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rPr>
            <a:t>KEPIMPINAN</a:t>
          </a:r>
          <a:endParaRPr lang="en-US" sz="1700" b="0" kern="1200" cap="none" spc="0" dirty="0">
            <a:ln w="18415" cmpd="sng">
              <a:solidFill>
                <a:srgbClr val="FFFFFF"/>
              </a:solidFill>
              <a:prstDash val="solid"/>
            </a:ln>
            <a:solidFill>
              <a:srgbClr val="FFFFFF"/>
            </a:solidFill>
            <a:effectLst>
              <a:glow rad="228600">
                <a:srgbClr val="000000"/>
              </a:glow>
              <a:outerShdw blurRad="63500" dir="3600000" algn="tl" rotWithShape="0">
                <a:srgbClr val="000000">
                  <a:alpha val="70000"/>
                </a:srgbClr>
              </a:outerShdw>
            </a:effectLst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653743" y="1178018"/>
        <a:ext cx="1962121" cy="1962121"/>
      </dsp:txXfrm>
    </dsp:sp>
    <dsp:sp modelId="{71D99AE5-2635-2E4A-87AE-B26E5B907114}">
      <dsp:nvSpPr>
        <dsp:cNvPr id="0" name=""/>
        <dsp:cNvSpPr/>
      </dsp:nvSpPr>
      <dsp:spPr>
        <a:xfrm rot="5400000">
          <a:off x="4744034" y="365281"/>
          <a:ext cx="2774858" cy="2774858"/>
        </a:xfrm>
        <a:prstGeom prst="pieWedge">
          <a:avLst/>
        </a:prstGeom>
        <a:solidFill>
          <a:srgbClr val="3366FF">
            <a:alpha val="69804"/>
          </a:srgb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0" kern="1200" cap="none" spc="0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glow rad="228600">
                  <a:srgbClr val="000000"/>
                </a:glow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rPr>
            <a:t>MEMIMPIN &amp; MENGURUS PERUBAHAN</a:t>
          </a:r>
          <a:endParaRPr lang="en-US" sz="1700" b="0" kern="1200" cap="none" spc="0" dirty="0">
            <a:ln w="18415" cmpd="sng">
              <a:solidFill>
                <a:srgbClr val="FFFFFF"/>
              </a:solidFill>
              <a:prstDash val="solid"/>
            </a:ln>
            <a:solidFill>
              <a:srgbClr val="FFFFFF"/>
            </a:solidFill>
            <a:effectLst>
              <a:glow rad="228600">
                <a:srgbClr val="000000"/>
              </a:glow>
              <a:outerShdw blurRad="63500" dir="3600000" algn="tl" rotWithShape="0">
                <a:srgbClr val="000000">
                  <a:alpha val="70000"/>
                </a:srgbClr>
              </a:outerShdw>
            </a:effectLst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4744034" y="1178018"/>
        <a:ext cx="1962121" cy="1962121"/>
      </dsp:txXfrm>
    </dsp:sp>
    <dsp:sp modelId="{DEAF38D9-AD7F-6D46-AC55-677EFDA027CD}">
      <dsp:nvSpPr>
        <dsp:cNvPr id="0" name=""/>
        <dsp:cNvSpPr/>
      </dsp:nvSpPr>
      <dsp:spPr>
        <a:xfrm rot="10800000">
          <a:off x="4744034" y="3268309"/>
          <a:ext cx="2774858" cy="2774858"/>
        </a:xfrm>
        <a:prstGeom prst="pieWedge">
          <a:avLst/>
        </a:prstGeom>
        <a:solidFill>
          <a:srgbClr val="66FF33">
            <a:alpha val="69804"/>
          </a:srgb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0" kern="1200" cap="none" spc="0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glow rad="228600">
                  <a:srgbClr val="000000"/>
                </a:glow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rPr>
            <a:t>PERANCANGAN</a:t>
          </a:r>
          <a:endParaRPr lang="en-US" sz="1700" b="0" kern="1200" cap="none" spc="0" dirty="0">
            <a:ln w="18415" cmpd="sng">
              <a:solidFill>
                <a:srgbClr val="FFFFFF"/>
              </a:solidFill>
              <a:prstDash val="solid"/>
            </a:ln>
            <a:solidFill>
              <a:srgbClr val="FFFFFF"/>
            </a:solidFill>
            <a:effectLst>
              <a:glow rad="228600">
                <a:srgbClr val="000000"/>
              </a:glow>
              <a:outerShdw blurRad="63500" dir="3600000" algn="tl" rotWithShape="0">
                <a:srgbClr val="000000">
                  <a:alpha val="70000"/>
                </a:srgbClr>
              </a:outerShdw>
            </a:effectLst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10800000">
        <a:off x="4744034" y="3268309"/>
        <a:ext cx="1962121" cy="1962121"/>
      </dsp:txXfrm>
    </dsp:sp>
    <dsp:sp modelId="{A70122BE-F2BA-1048-9606-267CCA13E516}">
      <dsp:nvSpPr>
        <dsp:cNvPr id="0" name=""/>
        <dsp:cNvSpPr/>
      </dsp:nvSpPr>
      <dsp:spPr>
        <a:xfrm rot="16200000">
          <a:off x="1841006" y="3268309"/>
          <a:ext cx="2774858" cy="2774858"/>
        </a:xfrm>
        <a:prstGeom prst="pieWedge">
          <a:avLst/>
        </a:prstGeom>
        <a:solidFill>
          <a:srgbClr val="FF3300">
            <a:alpha val="69804"/>
          </a:srgb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0" kern="1200" cap="none" spc="0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glow rad="228600">
                  <a:srgbClr val="000000"/>
                </a:glow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rPr>
            <a:t>PEMANTAUAN</a:t>
          </a:r>
          <a:endParaRPr lang="en-US" sz="1700" b="0" kern="1200" cap="none" spc="0" dirty="0">
            <a:ln w="18415" cmpd="sng">
              <a:solidFill>
                <a:srgbClr val="FFFFFF"/>
              </a:solidFill>
              <a:prstDash val="solid"/>
            </a:ln>
            <a:solidFill>
              <a:srgbClr val="FFFFFF"/>
            </a:solidFill>
            <a:effectLst>
              <a:glow rad="228600">
                <a:srgbClr val="000000"/>
              </a:glow>
              <a:outerShdw blurRad="63500" dir="3600000" algn="tl" rotWithShape="0">
                <a:srgbClr val="000000">
                  <a:alpha val="70000"/>
                </a:srgbClr>
              </a:outerShdw>
            </a:effectLst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5400000">
        <a:off x="2653743" y="3268309"/>
        <a:ext cx="1962121" cy="1962121"/>
      </dsp:txXfrm>
    </dsp:sp>
    <dsp:sp modelId="{0E776968-413C-5149-BCB3-5BA264C05050}">
      <dsp:nvSpPr>
        <dsp:cNvPr id="0" name=""/>
        <dsp:cNvSpPr/>
      </dsp:nvSpPr>
      <dsp:spPr>
        <a:xfrm>
          <a:off x="4200918" y="2627464"/>
          <a:ext cx="958063" cy="833098"/>
        </a:xfrm>
        <a:prstGeom prst="circularArrow">
          <a:avLst/>
        </a:prstGeom>
        <a:gradFill rotWithShape="0">
          <a:gsLst>
            <a:gs pos="0">
              <a:schemeClr val="accent5">
                <a:tint val="4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tint val="4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tint val="4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  <dsp:sp modelId="{54910C1B-7411-034C-975D-F5DFE0A503F5}">
      <dsp:nvSpPr>
        <dsp:cNvPr id="0" name=""/>
        <dsp:cNvSpPr/>
      </dsp:nvSpPr>
      <dsp:spPr>
        <a:xfrm rot="10800000">
          <a:off x="4200918" y="2947887"/>
          <a:ext cx="958063" cy="833098"/>
        </a:xfrm>
        <a:prstGeom prst="circularArrow">
          <a:avLst/>
        </a:prstGeom>
        <a:gradFill rotWithShape="0">
          <a:gsLst>
            <a:gs pos="0">
              <a:schemeClr val="accent5">
                <a:tint val="4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tint val="4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tint val="4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4#1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vertAlign" val="none"/>
                  <dgm:param type="horz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vertAlign" val="none"/>
                  <dgm:param type="horz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vertAlign" val="none"/>
                  <dgm:param type="horz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vertAlign" val="none"/>
                  <dgm:param type="horz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3#1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srcNode" val="parTx"/>
            <dgm:param type="dstNode" val="parTx"/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list1#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nodeHorzAlign" val="l"/>
          <dgm:param type="horzAlign" val="l"/>
        </dgm:alg>
      </dgm:if>
      <dgm:else name="Name2">
        <dgm:alg type="lin">
          <dgm:param type="linDir" val="fromT"/>
          <dgm:param type="vertAlign" val="mid"/>
          <dgm:param type="nodeHorzAlign" val="r"/>
          <dgm:param type="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nodeHorzAlign" val="l"/>
              <dgm:param type="horzAlign" val="l"/>
            </dgm:alg>
          </dgm:if>
          <dgm:else name="Name6">
            <dgm:alg type="lin">
              <dgm:param type="linDir" val="fromR"/>
              <dgm:param type="nodeHorzAlign" val="r"/>
              <dgm:param type="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#2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#1">
  <dgm:title val=""/>
  <dgm:desc val=""/>
  <dgm:catLst>
    <dgm:cat type="simple" pri="104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#1">
  <dgm:title val=""/>
  <dgm:desc val=""/>
  <dgm:catLst>
    <dgm:cat type="simple" pri="103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#3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#4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MY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16E920-AC1C-4F8F-9B06-425B76304DE3}" type="datetimeFigureOut">
              <a:rPr lang="en-US" smtClean="0"/>
              <a:t>8/26/2019</a:t>
            </a:fld>
            <a:endParaRPr lang="en-MY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MY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MY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73C3BE-396A-4E21-9FC7-6BD4F2410638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40411310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699D65-3DEF-4EE4-9F3F-C5B5C8D5CD8E}" type="slidenum">
              <a:rPr lang="en-MY" smtClean="0"/>
              <a:t>3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38076544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699D65-3DEF-4EE4-9F3F-C5B5C8D5CD8E}" type="slidenum">
              <a:rPr lang="en-MY" smtClean="0"/>
              <a:t>7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4624953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699D65-3DEF-4EE4-9F3F-C5B5C8D5CD8E}" type="slidenum">
              <a:rPr lang="en-MY" smtClean="0"/>
              <a:t>10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2479811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/>
          </a:ln>
        </p:spPr>
      </p:sp>
      <p:sp>
        <p:nvSpPr>
          <p:cNvPr id="10242" name="Notes Placeholder 2"/>
          <p:cNvSpPr>
            <a:spLocks noGrp="1"/>
          </p:cNvSpPr>
          <p:nvPr>
            <p:ph type="body"/>
          </p:nvPr>
        </p:nvSpPr>
        <p:spPr>
          <a:noFill/>
          <a:ln>
            <a:noFill/>
          </a:ln>
        </p:spPr>
        <p:txBody>
          <a:bodyPr wrap="square" lIns="91440" tIns="45720" rIns="91440" bIns="45720" anchor="t"/>
          <a:lstStyle/>
          <a:p>
            <a:pPr lvl="0">
              <a:spcBef>
                <a:spcPct val="0"/>
              </a:spcBef>
            </a:pPr>
            <a:endParaRPr lang="en-US" dirty="0"/>
          </a:p>
        </p:txBody>
      </p:sp>
      <p:sp>
        <p:nvSpPr>
          <p:cNvPr id="10243" name="Slide Number Placeholder 3"/>
          <p:cNvSpPr txBox="1">
            <a:spLocks noGrp="1"/>
          </p:cNvSpPr>
          <p:nvPr>
            <p:ph type="sldNum" sz="quarter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</a:ln>
        </p:spPr>
        <p:txBody>
          <a:bodyPr vert="horz" lIns="91440" tIns="45720" rIns="91440" bIns="45720" anchor="b"/>
          <a:lstStyle/>
          <a:p>
            <a:pPr lvl="0" indent="0" algn="r"/>
            <a:fld id="{9A0DB2DC-4C9A-4742-B13C-FB6460FD3503}" type="slidenum">
              <a:rPr lang="en-US" altLang="zh-CN" sz="1200" dirty="0"/>
              <a:t>14</a:t>
            </a:fld>
            <a:endParaRPr lang="en-US" altLang="zh-CN" sz="1200" dirty="0"/>
          </a:p>
        </p:txBody>
      </p:sp>
    </p:spTree>
    <p:extLst>
      <p:ext uri="{BB962C8B-B14F-4D97-AF65-F5344CB8AC3E}">
        <p14:creationId xmlns:p14="http://schemas.microsoft.com/office/powerpoint/2010/main" val="1414110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en-US" smtClean="0">
                <a:ea typeface="MS PGothic" panose="020B0600070205080204" pitchFamily="34" charset="-128"/>
              </a:rPr>
              <a:t>Kaitkan dengan kerangka hallinger</a:t>
            </a:r>
            <a:endParaRPr lang="ms-MY" smtClean="0">
              <a:ea typeface="MS PGothic" panose="020B0600070205080204" pitchFamily="34" charset="-128"/>
            </a:endParaRPr>
          </a:p>
        </p:txBody>
      </p:sp>
      <p:sp>
        <p:nvSpPr>
          <p:cNvPr id="317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</a:ln>
        </p:spPr>
        <p:txBody>
          <a:bodyPr/>
          <a:lstStyle/>
          <a:p>
            <a:fld id="{EEEB9A2E-3C3C-45BE-958D-1E0A2EB1C1C9}" type="slidenum">
              <a:rPr lang="en-US">
                <a:cs typeface="Arial" panose="020B0604020202020204" pitchFamily="34" charset="0"/>
              </a:rPr>
              <a:t>17</a:t>
            </a:fld>
            <a:endParaRPr lang="en-US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49830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Y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38A6A4-8BDD-48CA-A795-41759162239E}" type="slidenum">
              <a:rPr lang="en-MY" smtClean="0"/>
              <a:t>21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38894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r>
              <a:rPr lang="en-US" smtClean="0"/>
              <a:t>BACA MINDSCAPING, PELAN TINDAKAN, STRATEGI2 PLC YG 20, PERANCANGAN STRATEGIK, 3 BIG IDEAS – DUFOUR, </a:t>
            </a:r>
            <a:endParaRPr lang="ms-MY" smtClean="0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</a:ln>
        </p:spPr>
        <p:txBody>
          <a:bodyPr/>
          <a:lstStyle/>
          <a:p>
            <a:fld id="{F5606140-FA90-4C8D-A8AF-16ED0B7B0C19}" type="slidenum">
              <a:rPr lang="ms-MY">
                <a:ea typeface="MS PGothic" panose="020B0600070205080204" pitchFamily="34" charset="-128"/>
              </a:rPr>
              <a:t>22</a:t>
            </a:fld>
            <a:endParaRPr lang="ms-MY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451182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25603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en-US" smtClean="0">
                <a:latin typeface="Arial" panose="020B0604020202020204" pitchFamily="34" charset="0"/>
              </a:rPr>
              <a:t>Baca rubrik….tuliskan jenis evidens yg boleh ditunjukkan untuk pemantauan luar…..bahagikan ikut kumpulan….</a:t>
            </a:r>
            <a:endParaRPr lang="ms-MY" smtClean="0">
              <a:latin typeface="Arial" panose="020B0604020202020204" pitchFamily="34" charset="0"/>
            </a:endParaRPr>
          </a:p>
        </p:txBody>
      </p:sp>
      <p:sp>
        <p:nvSpPr>
          <p:cNvPr id="2560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</a:ln>
        </p:spPr>
        <p:txBody>
          <a:bodyPr/>
          <a:lstStyle/>
          <a:p>
            <a:fld id="{CF534BE0-E8EA-48BD-AA34-BC16A343ADEA}" type="slidenum">
              <a:rPr lang="en-US">
                <a:ea typeface="MS PGothic" panose="020B0600070205080204" pitchFamily="34" charset="-128"/>
              </a:rPr>
              <a:t>31</a:t>
            </a:fld>
            <a:endParaRPr lang="en-US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796158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07950"/>
            <a:ext cx="7315200" cy="563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990600" y="990600"/>
            <a:ext cx="3771900" cy="51355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4900" y="990600"/>
            <a:ext cx="3771900" cy="51355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www.themegallery.com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ompany Logo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330156-3390-42A2-94F0-6FD73E83A135}" type="slidenum">
              <a:rPr lang="en-US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8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18.png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17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3.xml"/><Relationship Id="rId7" Type="http://schemas.openxmlformats.org/officeDocument/2006/relationships/image" Target="../media/image17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13" Type="http://schemas.openxmlformats.org/officeDocument/2006/relationships/image" Target="../media/image26.png"/><Relationship Id="rId3" Type="http://schemas.openxmlformats.org/officeDocument/2006/relationships/image" Target="../media/image21.jpeg"/><Relationship Id="rId7" Type="http://schemas.openxmlformats.org/officeDocument/2006/relationships/diagramColors" Target="../diagrams/colors3.xml"/><Relationship Id="rId12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3.xml"/><Relationship Id="rId11" Type="http://schemas.openxmlformats.org/officeDocument/2006/relationships/image" Target="../media/image24.png"/><Relationship Id="rId5" Type="http://schemas.openxmlformats.org/officeDocument/2006/relationships/diagramLayout" Target="../diagrams/layout3.xml"/><Relationship Id="rId10" Type="http://schemas.openxmlformats.org/officeDocument/2006/relationships/image" Target="../media/image23.png"/><Relationship Id="rId4" Type="http://schemas.openxmlformats.org/officeDocument/2006/relationships/diagramData" Target="../diagrams/data3.xml"/><Relationship Id="rId9" Type="http://schemas.openxmlformats.org/officeDocument/2006/relationships/image" Target="../media/image22.png"/><Relationship Id="rId14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1.jpe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openxmlformats.org/officeDocument/2006/relationships/image" Target="../media/image26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11" Type="http://schemas.openxmlformats.org/officeDocument/2006/relationships/image" Target="../media/image25.png"/><Relationship Id="rId5" Type="http://schemas.openxmlformats.org/officeDocument/2006/relationships/diagramQuickStyle" Target="../diagrams/quickStyle5.xml"/><Relationship Id="rId10" Type="http://schemas.openxmlformats.org/officeDocument/2006/relationships/image" Target="../media/image24.png"/><Relationship Id="rId4" Type="http://schemas.openxmlformats.org/officeDocument/2006/relationships/diagramLayout" Target="../diagrams/layout5.xml"/><Relationship Id="rId9" Type="http://schemas.openxmlformats.org/officeDocument/2006/relationships/image" Target="../media/image2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jpe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jpe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483768" y="2132856"/>
            <a:ext cx="10081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MY" dirty="0"/>
          </a:p>
        </p:txBody>
      </p:sp>
      <p:sp>
        <p:nvSpPr>
          <p:cNvPr id="6" name="TextBox 5"/>
          <p:cNvSpPr txBox="1"/>
          <p:nvPr/>
        </p:nvSpPr>
        <p:spPr>
          <a:xfrm>
            <a:off x="207645" y="1132205"/>
            <a:ext cx="8754745" cy="66471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800" b="1" dirty="0" smtClean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 Black" panose="020B0A04020102020204" pitchFamily="34" charset="0"/>
                <a:cs typeface="Arial Black" panose="020B0A04020102020204" pitchFamily="34" charset="0"/>
              </a:rPr>
              <a:t>TEACHER DEVELOPMENT THROUGH </a:t>
            </a:r>
            <a:endParaRPr lang="en-US" sz="2800" b="1" dirty="0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 Black" panose="020B0A04020102020204" pitchFamily="34" charset="0"/>
              <a:cs typeface="Arial Black" panose="020B0A04020102020204" pitchFamily="34" charset="0"/>
            </a:endParaRPr>
          </a:p>
          <a:p>
            <a:pPr algn="r"/>
            <a:r>
              <a:rPr lang="en-US" sz="2800" b="1" dirty="0" smtClean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 Black" panose="020B0A04020102020204" pitchFamily="34" charset="0"/>
                <a:cs typeface="Arial Black" panose="020B0A04020102020204" pitchFamily="34" charset="0"/>
              </a:rPr>
              <a:t>PRO</a:t>
            </a:r>
            <a:r>
              <a:rPr lang="en-MY" altLang="en-US" sz="2800" b="1" dirty="0" smtClean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 Black" panose="020B0A04020102020204" pitchFamily="34" charset="0"/>
                <a:cs typeface="Arial Black" panose="020B0A04020102020204" pitchFamily="34" charset="0"/>
              </a:rPr>
              <a:t>F</a:t>
            </a:r>
            <a:r>
              <a:rPr lang="en-US" sz="2800" b="1" dirty="0" smtClean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 Black" panose="020B0A04020102020204" pitchFamily="34" charset="0"/>
                <a:cs typeface="Arial Black" panose="020B0A04020102020204" pitchFamily="34" charset="0"/>
              </a:rPr>
              <a:t>ESSIONAL </a:t>
            </a:r>
            <a:r>
              <a:rPr lang="en-US" sz="2800" b="1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 Black" panose="020B0A04020102020204" pitchFamily="34" charset="0"/>
                <a:cs typeface="Arial Black" panose="020B0A04020102020204" pitchFamily="34" charset="0"/>
              </a:rPr>
              <a:t>LEARNING COMMUNITY (</a:t>
            </a:r>
            <a:r>
              <a:rPr lang="en-US" sz="2800" b="1" dirty="0" smtClean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 Black" panose="020B0A04020102020204" pitchFamily="34" charset="0"/>
                <a:cs typeface="Arial Black" panose="020B0A04020102020204" pitchFamily="34" charset="0"/>
              </a:rPr>
              <a:t>PLC)</a:t>
            </a:r>
          </a:p>
          <a:p>
            <a:pPr algn="r"/>
            <a:endParaRPr lang="en-US" sz="2800" b="1" dirty="0" smtClean="0">
              <a:solidFill>
                <a:schemeClr val="accent4"/>
              </a:solidFill>
              <a:latin typeface="Arial Black" panose="020B0A04020102020204" pitchFamily="34" charset="0"/>
              <a:cs typeface="Arial Black" panose="020B0A04020102020204" pitchFamily="34" charset="0"/>
            </a:endParaRPr>
          </a:p>
          <a:p>
            <a:pPr algn="r"/>
            <a:r>
              <a:rPr lang="en-US" sz="2800" b="1" dirty="0" smtClean="0">
                <a:solidFill>
                  <a:schemeClr val="accent4"/>
                </a:solidFill>
                <a:latin typeface="Arial Black" panose="020B0A04020102020204" pitchFamily="34" charset="0"/>
                <a:cs typeface="Arial Black" panose="020B0A04020102020204" pitchFamily="34" charset="0"/>
              </a:rPr>
              <a:t>KOMUNITI PEMBELAJARAN PROFESSIONAL</a:t>
            </a:r>
          </a:p>
          <a:p>
            <a:pPr algn="l"/>
            <a:endParaRPr lang="en-MY" altLang="en-US" sz="2400" b="1" dirty="0" smtClean="0">
              <a:solidFill>
                <a:schemeClr val="accent4"/>
              </a:solidFill>
              <a:latin typeface="Arial Black" panose="020B0A04020102020204" pitchFamily="34" charset="0"/>
              <a:cs typeface="Arial Black" panose="020B0A04020102020204" pitchFamily="34" charset="0"/>
            </a:endParaRPr>
          </a:p>
          <a:p>
            <a:pPr algn="l"/>
            <a:endParaRPr lang="en-MY" altLang="en-US" sz="2400" b="1" dirty="0" smtClean="0">
              <a:solidFill>
                <a:schemeClr val="accent4"/>
              </a:solidFill>
              <a:latin typeface="Arial Black" panose="020B0A04020102020204" pitchFamily="34" charset="0"/>
              <a:cs typeface="Arial Black" panose="020B0A04020102020204" pitchFamily="34" charset="0"/>
            </a:endParaRPr>
          </a:p>
          <a:p>
            <a:pPr algn="l"/>
            <a:endParaRPr lang="en-MY" altLang="en-US" sz="2400" b="1" dirty="0" smtClean="0">
              <a:solidFill>
                <a:schemeClr val="accent4"/>
              </a:solidFill>
              <a:latin typeface="Arial Black" panose="020B0A04020102020204" pitchFamily="34" charset="0"/>
              <a:cs typeface="Arial Black" panose="020B0A04020102020204" pitchFamily="34" charset="0"/>
            </a:endParaRPr>
          </a:p>
          <a:p>
            <a:pPr algn="l"/>
            <a:endParaRPr lang="en-MY" altLang="en-US" sz="2400" b="1" dirty="0" smtClean="0">
              <a:solidFill>
                <a:schemeClr val="accent4"/>
              </a:solidFill>
              <a:latin typeface="Arial Black" panose="020B0A04020102020204" pitchFamily="34" charset="0"/>
              <a:cs typeface="Arial Black" panose="020B0A04020102020204" pitchFamily="34" charset="0"/>
            </a:endParaRPr>
          </a:p>
          <a:p>
            <a:pPr algn="l"/>
            <a:r>
              <a:rPr lang="en-MY" altLang="en-US" sz="2000" b="1" dirty="0" smtClean="0">
                <a:solidFill>
                  <a:schemeClr val="accent4"/>
                </a:solidFill>
                <a:latin typeface="Arial Black" panose="020B0A04020102020204" pitchFamily="34" charset="0"/>
                <a:cs typeface="Arial Black" panose="020B0A04020102020204" pitchFamily="34" charset="0"/>
              </a:rPr>
              <a:t>DISAMPAIKAN OLEH:</a:t>
            </a:r>
          </a:p>
          <a:p>
            <a:pPr algn="l"/>
            <a:r>
              <a:rPr lang="en-MY" altLang="en-US" b="1" dirty="0" smtClean="0">
                <a:solidFill>
                  <a:schemeClr val="accent4"/>
                </a:solidFill>
                <a:latin typeface="Arial Black" panose="020B0A04020102020204" pitchFamily="34" charset="0"/>
                <a:cs typeface="Arial Black" panose="020B0A04020102020204" pitchFamily="34" charset="0"/>
              </a:rPr>
              <a:t>AFIDAH BINTI AHMAT SAHARI</a:t>
            </a:r>
          </a:p>
          <a:p>
            <a:pPr algn="l"/>
            <a:r>
              <a:rPr lang="en-MY" altLang="en-US" b="1" dirty="0" smtClean="0">
                <a:solidFill>
                  <a:schemeClr val="accent4"/>
                </a:solidFill>
                <a:latin typeface="Arial Black" panose="020B0A04020102020204" pitchFamily="34" charset="0"/>
                <a:cs typeface="Arial Black" panose="020B0A04020102020204" pitchFamily="34" charset="0"/>
              </a:rPr>
              <a:t>INSTITUT AMINUDDIN BAKI CAWANGAN SARAWA</a:t>
            </a:r>
            <a:r>
              <a:rPr lang="en-MY" altLang="en-US" sz="2000" b="1" dirty="0" smtClean="0">
                <a:solidFill>
                  <a:schemeClr val="accent4"/>
                </a:solidFill>
                <a:latin typeface="Arial Black" panose="020B0A04020102020204" pitchFamily="34" charset="0"/>
                <a:cs typeface="Arial Black" panose="020B0A04020102020204" pitchFamily="34" charset="0"/>
              </a:rPr>
              <a:t>K</a:t>
            </a:r>
          </a:p>
          <a:p>
            <a:pPr algn="l"/>
            <a:r>
              <a:rPr lang="en-MY" altLang="en-US" sz="2000" b="1" dirty="0" smtClean="0">
                <a:solidFill>
                  <a:schemeClr val="accent4"/>
                </a:solidFill>
                <a:latin typeface="Arial Black" panose="020B0A04020102020204" pitchFamily="34" charset="0"/>
                <a:cs typeface="Arial Black" panose="020B0A04020102020204" pitchFamily="34" charset="0"/>
              </a:rPr>
              <a:t>afidaha@iab.edu.my</a:t>
            </a:r>
            <a:endParaRPr lang="en-US" sz="2000" b="1" dirty="0" smtClean="0">
              <a:solidFill>
                <a:schemeClr val="accent4"/>
              </a:solidFill>
              <a:latin typeface="Arial Black" panose="020B0A04020102020204" pitchFamily="34" charset="0"/>
              <a:cs typeface="Arial Black" panose="020B0A04020102020204" pitchFamily="34" charset="0"/>
            </a:endParaRPr>
          </a:p>
          <a:p>
            <a:pPr algn="ctr"/>
            <a:endParaRPr lang="en-US" sz="2800" i="1" dirty="0" smtClean="0">
              <a:solidFill>
                <a:schemeClr val="accent4"/>
              </a:solidFill>
              <a:latin typeface="Aharoni" pitchFamily="2" charset="-79"/>
              <a:cs typeface="Aharoni" pitchFamily="2" charset="-79"/>
            </a:endParaRPr>
          </a:p>
          <a:p>
            <a:pPr algn="ctr"/>
            <a:endParaRPr lang="en-US" sz="2800" dirty="0">
              <a:solidFill>
                <a:schemeClr val="accent4"/>
              </a:solidFill>
              <a:latin typeface="Aharoni" pitchFamily="2" charset="-79"/>
              <a:cs typeface="Aharoni" pitchFamily="2" charset="-79"/>
            </a:endParaRPr>
          </a:p>
          <a:p>
            <a:pPr algn="ctr"/>
            <a:r>
              <a:rPr lang="en-US" sz="2800" i="1" dirty="0" err="1" smtClean="0">
                <a:solidFill>
                  <a:schemeClr val="accent4"/>
                </a:solidFill>
                <a:latin typeface="Aharoni" pitchFamily="2" charset="-79"/>
                <a:cs typeface="Aharoni" pitchFamily="2" charset="-79"/>
              </a:rPr>
              <a:t>I</a:t>
            </a:r>
            <a:endParaRPr lang="en-US" sz="2800" i="1" dirty="0" smtClean="0">
              <a:solidFill>
                <a:schemeClr val="accent4"/>
              </a:solidFill>
              <a:latin typeface="Aharoni" pitchFamily="2" charset="-79"/>
              <a:cs typeface="Aharoni" pitchFamily="2" charset="-79"/>
            </a:endParaRPr>
          </a:p>
        </p:txBody>
      </p:sp>
      <p:pic>
        <p:nvPicPr>
          <p:cNvPr id="2" name="Picture 1" descr="download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73390" y="149860"/>
            <a:ext cx="888365" cy="853440"/>
          </a:xfrm>
          <a:prstGeom prst="rect">
            <a:avLst/>
          </a:prstGeom>
        </p:spPr>
      </p:pic>
      <p:pic>
        <p:nvPicPr>
          <p:cNvPr id="3" name="Picture 2" descr="download (1)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5" y="89535"/>
            <a:ext cx="3394710" cy="83375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034" name="Picture 2" descr="PLC 2014 36&#10;KOLABORATIF (COLLABORATION)KOLABORATIF (COLLABORATION)&#10;Strategi PLC Deskripsi&#10;Pasukan Melintang &amp; Menegak&#10;(Hor..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6628" y="0"/>
            <a:ext cx="754737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KOMUNITI PEMBELAJARAN PROFESIONAL: MODUS OPERANDIKEMENTERIAN PELAJARANM A L AY S I A            1   Utama Slaid Sebelum Sl...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603"/>
          <a:stretch>
            <a:fillRect/>
          </a:stretch>
        </p:blipFill>
        <p:spPr bwMode="auto">
          <a:xfrm>
            <a:off x="0" y="0"/>
            <a:ext cx="159662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8" name="Picture 2" descr="PLC 2014 37&#10;NORMA DAN NILAI DIKONGSI BERSAMA&#10;Strategi PLC Deskripsi&#10;Aktiviti Visi&#10;(Vision Activity)&#10;Melibatkan staf dalam ...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6628" y="0"/>
            <a:ext cx="754737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KOMUNITI PEMBELAJARAN PROFESIONAL: MODUS OPERANDIKEMENTERIAN PELAJARANM A L AY S I A            1   Utama Slaid Sebelum Sl...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603"/>
          <a:stretch>
            <a:fillRect/>
          </a:stretch>
        </p:blipFill>
        <p:spPr bwMode="auto">
          <a:xfrm>
            <a:off x="0" y="0"/>
            <a:ext cx="159662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MY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OMUNITI PEMBELAJARAN PROFESIONAL (PLC)</a:t>
            </a:r>
            <a:endParaRPr lang="en-MY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b">
            <a:normAutofit/>
          </a:bodyPr>
          <a:lstStyle/>
          <a:p>
            <a:pPr algn="ctr"/>
            <a:r>
              <a:rPr lang="en-MY" sz="6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PAKAH PERANAN KITA?</a:t>
            </a:r>
            <a:endParaRPr lang="en-MY" sz="6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Rectangle 3"/>
          <p:cNvSpPr/>
          <p:nvPr/>
        </p:nvSpPr>
        <p:spPr>
          <a:xfrm rot="5400000">
            <a:off x="3848101" y="-876298"/>
            <a:ext cx="2209799" cy="7467602"/>
          </a:xfrm>
          <a:prstGeom prst="rect">
            <a:avLst/>
          </a:prstGeom>
          <a:blipFill rotWithShape="1">
            <a:blip r:embed="rId2"/>
            <a:stretch>
              <a:fillRect/>
            </a:stretch>
          </a:blipFill>
          <a:ln>
            <a:noFill/>
          </a:ln>
        </p:spPr>
        <p:style>
          <a:lnRef idx="0">
            <a:scrgbClr r="0" g="0" b="0"/>
          </a:lnRef>
          <a:fillRef idx="1">
            <a:scrgbClr r="0" g="0" b="0"/>
          </a:fillRef>
          <a:effectRef idx="2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Rectangle 122"/>
          <p:cNvSpPr/>
          <p:nvPr/>
        </p:nvSpPr>
        <p:spPr bwMode="auto">
          <a:xfrm>
            <a:off x="6553200" y="3636963"/>
            <a:ext cx="2286000" cy="108743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MY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170" name="Rectangle 4"/>
          <p:cNvSpPr/>
          <p:nvPr/>
        </p:nvSpPr>
        <p:spPr>
          <a:xfrm>
            <a:off x="2582863" y="1012825"/>
            <a:ext cx="6053137" cy="590550"/>
          </a:xfrm>
          <a:prstGeom prst="rect">
            <a:avLst/>
          </a:prstGeom>
          <a:noFill/>
          <a:ln w="9525">
            <a:noFill/>
          </a:ln>
        </p:spPr>
        <p:txBody>
          <a:bodyPr lIns="91430" tIns="45715" rIns="91430" bIns="45715" anchor="t">
            <a:spAutoFit/>
          </a:bodyPr>
          <a:lstStyle/>
          <a:p>
            <a:endParaRPr lang="en-US" sz="3200" dirty="0">
              <a:latin typeface="Calibri" panose="020F0502020204030204" charset="0"/>
            </a:endParaRPr>
          </a:p>
        </p:txBody>
      </p:sp>
      <p:grpSp>
        <p:nvGrpSpPr>
          <p:cNvPr id="7171" name="Group 6"/>
          <p:cNvGrpSpPr/>
          <p:nvPr/>
        </p:nvGrpSpPr>
        <p:grpSpPr>
          <a:xfrm>
            <a:off x="152400" y="838200"/>
            <a:ext cx="7924800" cy="5962650"/>
            <a:chOff x="-169918" y="559552"/>
            <a:chExt cx="7923152" cy="5962710"/>
          </a:xfrm>
        </p:grpSpPr>
        <p:cxnSp>
          <p:nvCxnSpPr>
            <p:cNvPr id="86" name="Straight Connector 85"/>
            <p:cNvCxnSpPr/>
            <p:nvPr/>
          </p:nvCxnSpPr>
          <p:spPr>
            <a:xfrm rot="5400000">
              <a:off x="3187520" y="3731995"/>
              <a:ext cx="2884328" cy="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Rectangle 86"/>
            <p:cNvSpPr/>
            <p:nvPr/>
          </p:nvSpPr>
          <p:spPr>
            <a:xfrm>
              <a:off x="591924" y="3105760"/>
              <a:ext cx="5561443" cy="70639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MY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8" name="Rectangle 87"/>
            <p:cNvSpPr/>
            <p:nvPr/>
          </p:nvSpPr>
          <p:spPr>
            <a:xfrm>
              <a:off x="3029817" y="559552"/>
              <a:ext cx="3061540" cy="575632"/>
            </a:xfrm>
            <a:prstGeom prst="rect">
              <a:avLst/>
            </a:prstGeom>
            <a:solidFill>
              <a:schemeClr val="tx2">
                <a:lumMod val="50000"/>
                <a:lumOff val="50000"/>
              </a:schemeClr>
            </a:solidFill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Arial" panose="020B0604020202020204" pitchFamily="34" charset="0"/>
                </a:rPr>
                <a:t>JABATAN PERDANA MENTERI</a:t>
              </a:r>
            </a:p>
          </p:txBody>
        </p:sp>
        <p:sp>
          <p:nvSpPr>
            <p:cNvPr id="89" name="Rectangle 88"/>
            <p:cNvSpPr/>
            <p:nvPr/>
          </p:nvSpPr>
          <p:spPr>
            <a:xfrm>
              <a:off x="3791658" y="1473901"/>
              <a:ext cx="3961576" cy="597444"/>
            </a:xfrm>
            <a:prstGeom prst="rect">
              <a:avLst/>
            </a:prstGeom>
            <a:solidFill>
              <a:schemeClr val="tx2">
                <a:lumMod val="50000"/>
                <a:lumOff val="50000"/>
              </a:schemeClr>
            </a:solidFill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Arial" panose="020B0604020202020204" pitchFamily="34" charset="0"/>
                </a:rPr>
                <a:t>KEMENTERIAN PENDIDIKAN MALAYSIA</a:t>
              </a:r>
              <a:endParaRPr kumimoji="0" lang="en-MY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0" name="Rectangle 89"/>
            <p:cNvSpPr/>
            <p:nvPr/>
          </p:nvSpPr>
          <p:spPr>
            <a:xfrm>
              <a:off x="2801264" y="2278162"/>
              <a:ext cx="3504471" cy="457732"/>
            </a:xfrm>
            <a:prstGeom prst="rect">
              <a:avLst/>
            </a:prstGeom>
            <a:solidFill>
              <a:schemeClr val="tx2">
                <a:lumMod val="50000"/>
                <a:lumOff val="50000"/>
              </a:schemeClr>
            </a:solidFill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Arial" panose="020B0604020202020204" pitchFamily="34" charset="0"/>
                </a:rPr>
                <a:t>BAHAGIAN PENDIDIKAN GURU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Arial" panose="020B0604020202020204" pitchFamily="34" charset="0"/>
                </a:rPr>
                <a:t>(</a:t>
              </a:r>
              <a:r>
                <a:rPr kumimoji="0" lang="en-US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Arial" panose="020B0604020202020204" pitchFamily="34" charset="0"/>
                </a:rPr>
                <a:t>SEKTOR BINA UPAYA KEGURUAN</a:t>
              </a:r>
              <a:r>
                <a:rPr kumimoji="0" 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Arial" panose="020B0604020202020204" pitchFamily="34" charset="0"/>
                </a:rPr>
                <a:t>)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MY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1" name="Rectangle 90"/>
            <p:cNvSpPr/>
            <p:nvPr/>
          </p:nvSpPr>
          <p:spPr>
            <a:xfrm>
              <a:off x="4465743" y="3260131"/>
              <a:ext cx="766666" cy="423447"/>
            </a:xfrm>
            <a:prstGeom prst="rect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lIns="89611" tIns="44806" rIns="89611" bIns="44806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Arial" panose="020B0604020202020204" pitchFamily="34" charset="0"/>
                </a:rPr>
                <a:t>IPGM</a:t>
              </a:r>
              <a:endParaRPr kumimoji="0" lang="en-MY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3791658" y="3267876"/>
              <a:ext cx="609473" cy="423447"/>
            </a:xfrm>
            <a:prstGeom prst="rect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lIns="89611" tIns="44806" rIns="89611" bIns="44806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Arial" panose="020B0604020202020204" pitchFamily="34" charset="0"/>
                </a:rPr>
                <a:t>IAB</a:t>
              </a:r>
              <a:endParaRPr kumimoji="0" lang="en-MY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" name="Rectangle 92"/>
            <p:cNvSpPr/>
            <p:nvPr/>
          </p:nvSpPr>
          <p:spPr>
            <a:xfrm>
              <a:off x="1429949" y="3260131"/>
              <a:ext cx="862890" cy="423447"/>
            </a:xfrm>
            <a:prstGeom prst="rect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lIns="89611" tIns="44806" rIns="89611" bIns="44806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Arial" panose="020B0604020202020204" pitchFamily="34" charset="0"/>
                </a:rPr>
                <a:t>BPSH</a:t>
              </a:r>
              <a:endParaRPr kumimoji="0" lang="en-MY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6" name="Rectangle 95"/>
            <p:cNvSpPr/>
            <p:nvPr/>
          </p:nvSpPr>
          <p:spPr>
            <a:xfrm>
              <a:off x="3944028" y="3988245"/>
              <a:ext cx="1340838" cy="423447"/>
            </a:xfrm>
            <a:prstGeom prst="rect">
              <a:avLst/>
            </a:prstGeom>
            <a:solidFill>
              <a:schemeClr val="tx2">
                <a:lumMod val="50000"/>
                <a:lumOff val="50000"/>
              </a:schemeClr>
            </a:solidFill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Arial" panose="020B0604020202020204" pitchFamily="34" charset="0"/>
                </a:rPr>
                <a:t>P/GB</a:t>
              </a:r>
              <a:endParaRPr kumimoji="0" lang="en-MY" sz="1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7" name="Rectangle 96"/>
            <p:cNvSpPr/>
            <p:nvPr/>
          </p:nvSpPr>
          <p:spPr>
            <a:xfrm>
              <a:off x="3944028" y="4574704"/>
              <a:ext cx="1340838" cy="522766"/>
            </a:xfrm>
            <a:prstGeom prst="rect">
              <a:avLst/>
            </a:prstGeom>
            <a:solidFill>
              <a:schemeClr val="tx2">
                <a:lumMod val="50000"/>
                <a:lumOff val="50000"/>
              </a:schemeClr>
            </a:solidFill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600" b="1" i="0" u="none" strike="noStrike" kern="1200" cap="none" spc="0" normalizeH="0" baseline="0" noProof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Arial" panose="020B0604020202020204" pitchFamily="34" charset="0"/>
                </a:rPr>
                <a:t>KETUA PANITIA</a:t>
              </a:r>
              <a:endParaRPr kumimoji="0" lang="en-MY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8" name="Rectangle 97"/>
            <p:cNvSpPr/>
            <p:nvPr/>
          </p:nvSpPr>
          <p:spPr>
            <a:xfrm>
              <a:off x="3944027" y="5249865"/>
              <a:ext cx="1340837" cy="423447"/>
            </a:xfrm>
            <a:prstGeom prst="rect">
              <a:avLst/>
            </a:prstGeom>
            <a:solidFill>
              <a:schemeClr val="tx2">
                <a:lumMod val="50000"/>
                <a:lumOff val="50000"/>
              </a:schemeClr>
            </a:solidFill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Arial" panose="020B0604020202020204" pitchFamily="34" charset="0"/>
                </a:rPr>
                <a:t>GURU</a:t>
              </a:r>
              <a:endParaRPr kumimoji="0" lang="en-MY" sz="1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-169918" y="5200743"/>
              <a:ext cx="3961576" cy="1321519"/>
            </a:xfrm>
            <a:prstGeom prst="rect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wrap="square" lIns="89611" tIns="44806" rIns="89611" bIns="44806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l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+mn-lt"/>
                  <a:ea typeface="+mn-ea"/>
                  <a:cs typeface="+mn-cs"/>
                </a:rPr>
                <a:t>STRUKTUR GOVERNA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l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+mn-lt"/>
                  <a:ea typeface="+mn-ea"/>
                  <a:cs typeface="+mn-cs"/>
                </a:rPr>
                <a:t>PELAKSANAAN </a:t>
              </a:r>
              <a:r>
                <a:rPr kumimoji="0" 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l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+mn-lt"/>
                  <a:ea typeface="+mn-ea"/>
                  <a:cs typeface="+mn-cs"/>
                </a:rPr>
                <a:t>INISIATIF 11 PEMBANGUNAN PROFESIONALISME BERTERUSAN (PPB) KOMUNITI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n-l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l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+mn-lt"/>
                  <a:ea typeface="+mn-ea"/>
                  <a:cs typeface="+mn-cs"/>
                </a:rPr>
                <a:t> PEMBELAJARAN PROFESIONAL (PLC)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2355732" y="3260131"/>
              <a:ext cx="609473" cy="423447"/>
            </a:xfrm>
            <a:prstGeom prst="rect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lIns="89611" tIns="44806" rIns="89611" bIns="44806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Arial" panose="020B0604020202020204" pitchFamily="34" charset="0"/>
                </a:rPr>
                <a:t>BPK</a:t>
              </a:r>
              <a:endParaRPr kumimoji="0" lang="en-MY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3041389" y="3261127"/>
              <a:ext cx="685657" cy="423447"/>
            </a:xfrm>
            <a:prstGeom prst="rect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lIns="89611" tIns="44806" rIns="89611" bIns="44806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Arial" panose="020B0604020202020204" pitchFamily="34" charset="0"/>
                </a:rPr>
                <a:t>LPM</a:t>
              </a:r>
              <a:endParaRPr kumimoji="0" lang="en-MY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5297020" y="3261127"/>
              <a:ext cx="754247" cy="423447"/>
            </a:xfrm>
            <a:prstGeom prst="rect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lIns="89611" tIns="44806" rIns="89611" bIns="44806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orbel" panose="020B0503020204020204" pitchFamily="34" charset="0"/>
                  <a:ea typeface="+mn-ea"/>
                  <a:cs typeface="Arial" panose="020B0604020202020204" pitchFamily="34" charset="0"/>
                </a:rPr>
                <a:t>IPTA</a:t>
              </a:r>
              <a:endParaRPr kumimoji="0" lang="en-MY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00" name="Rectangle 99"/>
          <p:cNvSpPr/>
          <p:nvPr/>
        </p:nvSpPr>
        <p:spPr bwMode="auto">
          <a:xfrm>
            <a:off x="6781800" y="3767138"/>
            <a:ext cx="811213" cy="423863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87819" tIns="43910" rIns="87819" bIns="4391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rPr>
              <a:t>JPN</a:t>
            </a:r>
            <a:endParaRPr kumimoji="0" lang="en-MY" sz="18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1" name="Rectangle 100"/>
          <p:cNvSpPr/>
          <p:nvPr/>
        </p:nvSpPr>
        <p:spPr bwMode="auto">
          <a:xfrm>
            <a:off x="7848600" y="3767138"/>
            <a:ext cx="811213" cy="423863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87819" tIns="43910" rIns="87819" bIns="4391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rPr>
              <a:t>PPD</a:t>
            </a:r>
            <a:endParaRPr kumimoji="0" lang="en-MY" sz="1800" b="1" i="0" u="none" strike="noStrike" kern="120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2" name="Elbow Connector 101"/>
          <p:cNvCxnSpPr/>
          <p:nvPr/>
        </p:nvCxnSpPr>
        <p:spPr>
          <a:xfrm rot="5400000">
            <a:off x="6080919" y="3810794"/>
            <a:ext cx="1157288" cy="2193925"/>
          </a:xfrm>
          <a:prstGeom prst="bentConnector2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03" name="Rectangle 102"/>
          <p:cNvSpPr/>
          <p:nvPr/>
        </p:nvSpPr>
        <p:spPr bwMode="auto">
          <a:xfrm>
            <a:off x="304800" y="4605338"/>
            <a:ext cx="1792288" cy="423863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87819" tIns="43910" rIns="87819" bIns="4391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rPr>
              <a:t>PELAPORAN</a:t>
            </a:r>
            <a:endParaRPr kumimoji="0" lang="en-MY" sz="1800" b="1" i="0" u="none" strike="noStrike" kern="120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4" name="Elbow Connector 103"/>
          <p:cNvCxnSpPr/>
          <p:nvPr/>
        </p:nvCxnSpPr>
        <p:spPr>
          <a:xfrm rot="10800000">
            <a:off x="914400" y="5035550"/>
            <a:ext cx="3286125" cy="374650"/>
          </a:xfrm>
          <a:prstGeom prst="bentConnector3">
            <a:avLst>
              <a:gd name="adj1" fmla="val 100075"/>
            </a:avLst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05" name="Shape 46"/>
          <p:cNvCxnSpPr/>
          <p:nvPr/>
        </p:nvCxnSpPr>
        <p:spPr>
          <a:xfrm>
            <a:off x="6477000" y="3094038"/>
            <a:ext cx="1252538" cy="563563"/>
          </a:xfrm>
          <a:prstGeom prst="bentConnector2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Arrow Connector 105"/>
          <p:cNvCxnSpPr/>
          <p:nvPr/>
        </p:nvCxnSpPr>
        <p:spPr>
          <a:xfrm>
            <a:off x="3581400" y="2057400"/>
            <a:ext cx="533400" cy="1588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7" name="Straight Arrow Connector 106"/>
          <p:cNvCxnSpPr/>
          <p:nvPr/>
        </p:nvCxnSpPr>
        <p:spPr>
          <a:xfrm rot="5400000" flipH="1" flipV="1">
            <a:off x="4793456" y="1607344"/>
            <a:ext cx="320675" cy="1588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8" name="Elbow Connector 107"/>
          <p:cNvCxnSpPr/>
          <p:nvPr/>
        </p:nvCxnSpPr>
        <p:spPr>
          <a:xfrm flipV="1">
            <a:off x="838200" y="3152775"/>
            <a:ext cx="2540000" cy="1419225"/>
          </a:xfrm>
          <a:prstGeom prst="bentConnector3">
            <a:avLst>
              <a:gd name="adj1" fmla="val 241"/>
            </a:avLst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 bwMode="auto">
          <a:xfrm>
            <a:off x="280988" y="1646238"/>
            <a:ext cx="3276600" cy="803275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89611" tIns="44806" rIns="89611" bIns="44806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rPr>
              <a:t>PEJABAT PENGURUSAN PELAKSANAAN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rPr>
              <a:t>(PADU)</a:t>
            </a:r>
            <a:endParaRPr kumimoji="0" lang="en-MY" sz="16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2" name="Straight Arrow Connector 31"/>
          <p:cNvCxnSpPr/>
          <p:nvPr/>
        </p:nvCxnSpPr>
        <p:spPr>
          <a:xfrm rot="5400000" flipH="1" flipV="1">
            <a:off x="3658394" y="2285206"/>
            <a:ext cx="457200" cy="1588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8" name="Rectangle 37"/>
          <p:cNvSpPr/>
          <p:nvPr/>
        </p:nvSpPr>
        <p:spPr bwMode="auto">
          <a:xfrm>
            <a:off x="7239000" y="4267200"/>
            <a:ext cx="811213" cy="423863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87819" tIns="43910" rIns="87819" bIns="4391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rPr>
              <a:t>SISC+</a:t>
            </a:r>
            <a:endParaRPr kumimoji="0" lang="en-MY" sz="18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990600" y="3540125"/>
            <a:ext cx="685800" cy="423863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89611" tIns="44806" rIns="89611" bIns="44806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MY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Arial" panose="020B0604020202020204" pitchFamily="34" charset="0"/>
              </a:rPr>
              <a:t>JNJK</a:t>
            </a:r>
          </a:p>
        </p:txBody>
      </p:sp>
      <p:sp>
        <p:nvSpPr>
          <p:cNvPr id="5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24510" y="131763"/>
            <a:ext cx="8229600" cy="630238"/>
          </a:xfrm>
          <a:ln>
            <a:miter lim="800000"/>
          </a:ln>
          <a:effectLst/>
          <a:scene3d>
            <a:camera prst="orthographicFront"/>
            <a:lightRig rig="balanced" dir="t"/>
          </a:scene3d>
          <a:sp3d prstMaterial="plastic"/>
        </p:spPr>
        <p:txBody>
          <a:bodyPr vert="horz" wrap="square" lIns="91440" tIns="45720" rIns="91440" bIns="45720" numCol="1" rtlCol="0" anchor="ctr" anchorCtr="0" compatLnSpc="1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4000" b="0" i="0" u="none" strike="noStrike" kern="0" cap="none" spc="0" normalizeH="0" baseline="0" noProof="0" dirty="0" smtClean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CARTA ORGANISASI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68300" y="131763"/>
            <a:ext cx="8229600" cy="630238"/>
          </a:xfrm>
          <a:ln>
            <a:miter lim="800000"/>
          </a:ln>
          <a:effectLst/>
          <a:scene3d>
            <a:camera prst="orthographicFront"/>
            <a:lightRig rig="balanced" dir="t"/>
          </a:scene3d>
          <a:sp3d prstMaterial="plastic"/>
        </p:spPr>
        <p:txBody>
          <a:bodyPr vert="horz" wrap="square" lIns="91440" tIns="45720" rIns="91440" bIns="45720" numCol="1" rtlCol="0" anchor="ctr" anchorCtr="0" compatLnSpc="1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4000" b="0" i="0" u="none" strike="noStrike" kern="0" cap="none" spc="0" normalizeH="0" baseline="0" noProof="0" dirty="0" smtClean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FUNGSI STRUKTUR ORGANISASI</a:t>
            </a:r>
          </a:p>
        </p:txBody>
      </p:sp>
      <p:graphicFrame>
        <p:nvGraphicFramePr>
          <p:cNvPr id="25" name="Diagram 24"/>
          <p:cNvGraphicFramePr/>
          <p:nvPr/>
        </p:nvGraphicFramePr>
        <p:xfrm>
          <a:off x="368489" y="914400"/>
          <a:ext cx="8325134" cy="50223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9219" name="Group 20"/>
          <p:cNvGrpSpPr/>
          <p:nvPr/>
        </p:nvGrpSpPr>
        <p:grpSpPr>
          <a:xfrm>
            <a:off x="5105400" y="6324600"/>
            <a:ext cx="4038600" cy="533400"/>
            <a:chOff x="105552150" y="109604175"/>
            <a:chExt cx="9109800" cy="1943100"/>
          </a:xfrm>
        </p:grpSpPr>
        <p:sp>
          <p:nvSpPr>
            <p:cNvPr id="9220" name="Rectangle 21"/>
            <p:cNvSpPr/>
            <p:nvPr/>
          </p:nvSpPr>
          <p:spPr>
            <a:xfrm>
              <a:off x="105552150" y="109604175"/>
              <a:ext cx="9109800" cy="1943100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txBody>
            <a:bodyPr lIns="36576" tIns="36576" rIns="36576" bIns="36576" anchor="t"/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grpSp>
          <p:nvGrpSpPr>
            <p:cNvPr id="9221" name="Group 22"/>
            <p:cNvGrpSpPr/>
            <p:nvPr/>
          </p:nvGrpSpPr>
          <p:grpSpPr>
            <a:xfrm>
              <a:off x="105860850" y="109718475"/>
              <a:ext cx="8724798" cy="1685578"/>
              <a:chOff x="105765510" y="107782995"/>
              <a:chExt cx="8724798" cy="1685578"/>
            </a:xfrm>
          </p:grpSpPr>
          <p:pic>
            <p:nvPicPr>
              <p:cNvPr id="9222" name="Picture 23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05765510" y="107859195"/>
                <a:ext cx="2145978" cy="123149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</a:ln>
            </p:spPr>
          </p:pic>
          <p:pic>
            <p:nvPicPr>
              <p:cNvPr id="9223" name="Picture 24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07918250" y="108842175"/>
                <a:ext cx="6572058" cy="243861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</a:ln>
            </p:spPr>
          </p:pic>
          <p:pic>
            <p:nvPicPr>
              <p:cNvPr id="9224" name="Picture 25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107918250" y="107782995"/>
                <a:ext cx="6400800" cy="33530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</a:ln>
            </p:spPr>
          </p:pic>
          <p:pic>
            <p:nvPicPr>
              <p:cNvPr id="9225" name="Picture 26"/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107918250" y="108179235"/>
                <a:ext cx="6376969" cy="35969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</a:ln>
            </p:spPr>
          </p:pic>
          <p:pic>
            <p:nvPicPr>
              <p:cNvPr id="9226" name="Picture 27"/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107918250" y="108575475"/>
                <a:ext cx="6400800" cy="256520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</a:ln>
            </p:spPr>
          </p:pic>
          <p:pic>
            <p:nvPicPr>
              <p:cNvPr id="9227" name="Picture 28"/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106348530" y="109078395"/>
                <a:ext cx="7480440" cy="390178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</a:ln>
            </p:spPr>
          </p:pic>
        </p:grpSp>
      </p:grp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53" name="Rectangle 25"/>
          <p:cNvSpPr>
            <a:spLocks noGrp="1" noChangeArrowheads="1"/>
          </p:cNvSpPr>
          <p:nvPr>
            <p:ph type="title"/>
          </p:nvPr>
        </p:nvSpPr>
        <p:spPr bwMode="auto">
          <a:xfrm>
            <a:off x="419100" y="310198"/>
            <a:ext cx="8229600" cy="630238"/>
          </a:xfrm>
          <a:ln>
            <a:miter lim="800000"/>
          </a:ln>
          <a:effectLst/>
          <a:scene3d>
            <a:camera prst="orthographicFront"/>
            <a:lightRig rig="balanced" dir="t"/>
          </a:scene3d>
          <a:sp3d prstMaterial="plastic"/>
        </p:spPr>
        <p:txBody>
          <a:bodyPr vert="horz" wrap="square" lIns="91440" tIns="45720" rIns="91440" bIns="45720" numCol="1" rtlCol="0" anchor="ctr" anchorCtr="0" compatLnSpc="1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4000" b="0" i="0" u="none" strike="noStrike" kern="0" cap="none" spc="0" normalizeH="0" baseline="0" noProof="0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FUNGSI STRUKTUR ORGANISASI</a:t>
            </a:r>
          </a:p>
        </p:txBody>
      </p:sp>
      <p:graphicFrame>
        <p:nvGraphicFramePr>
          <p:cNvPr id="28" name="Diagram 27"/>
          <p:cNvGraphicFramePr/>
          <p:nvPr/>
        </p:nvGraphicFramePr>
        <p:xfrm>
          <a:off x="304800" y="1371600"/>
          <a:ext cx="8458200" cy="510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35"/>
          <p:cNvSpPr>
            <a:spLocks noGrp="1"/>
          </p:cNvSpPr>
          <p:nvPr>
            <p:ph type="body" idx="1"/>
          </p:nvPr>
        </p:nvSpPr>
        <p:spPr>
          <a:xfrm>
            <a:off x="457200" y="1371600"/>
            <a:ext cx="4040188" cy="803275"/>
          </a:xfrm>
          <a:solidFill>
            <a:schemeClr val="accent1">
              <a:lumMod val="60000"/>
              <a:lumOff val="40000"/>
            </a:schemeClr>
          </a:solidFill>
        </p:spPr>
        <p:txBody>
          <a:bodyPr vert="horz" wrap="square" lIns="91440" tIns="45720" rIns="91440" bIns="45720" numCol="1" anchor="b" anchorCtr="0" compatLnSpc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None/>
              <a:defRPr/>
            </a:pP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ITARAN 1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None/>
              <a:defRPr/>
            </a:pP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SEMESTER 1 – Mac - Jul)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314" name="Content Placeholder 36"/>
          <p:cNvSpPr>
            <a:spLocks noGrp="1"/>
          </p:cNvSpPr>
          <p:nvPr>
            <p:ph sz="half" idx="2"/>
          </p:nvPr>
        </p:nvSpPr>
        <p:spPr/>
        <p:txBody>
          <a:bodyPr vert="horz" wrap="square" lIns="91440" tIns="45720" rIns="91440" bIns="45720" anchor="t"/>
          <a:lstStyle/>
          <a:p>
            <a:r>
              <a:rPr lang="en-US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Mesti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melaksanakan Lesson study dan Peer coaching dan </a:t>
            </a:r>
            <a:r>
              <a:rPr lang="en-US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pilih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mana-mana 1 daripada </a:t>
            </a:r>
            <a:r>
              <a:rPr lang="en-US" i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ideo critique, teacher sharing sessions,  learning walks dan data analysis.</a:t>
            </a:r>
          </a:p>
          <a:p>
            <a:r>
              <a:rPr lang="en-US" i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poran pada akhir Julai kepada PPD dan JPN</a:t>
            </a:r>
            <a:endParaRPr lang="en-US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315" name="Content Placeholder 38"/>
          <p:cNvSpPr>
            <a:spLocks noGrp="1"/>
          </p:cNvSpPr>
          <p:nvPr>
            <p:ph sz="quarter" idx="4"/>
          </p:nvPr>
        </p:nvSpPr>
        <p:spPr/>
        <p:txBody>
          <a:bodyPr vert="horz" wrap="square" lIns="91440" tIns="45720" rIns="91440" bIns="45720" anchor="t"/>
          <a:lstStyle/>
          <a:p>
            <a:r>
              <a:rPr lang="en-US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Mesti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melaksanakan Lesson study dan Peer coaching  dan pilih mana-mana satu yang </a:t>
            </a:r>
            <a:r>
              <a:rPr lang="en-US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belum</a:t>
            </a:r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ilaksanakan dalam Fasa 1. </a:t>
            </a:r>
          </a:p>
          <a:p>
            <a:r>
              <a:rPr lang="en-US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poran pada akhir oktober kepada PPD dan JP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457199" y="533400"/>
            <a:ext cx="8229600" cy="457200"/>
          </a:xfrm>
          <a:ln>
            <a:miter lim="800000"/>
          </a:ln>
          <a:effectLst/>
          <a:scene3d>
            <a:camera prst="orthographicFront"/>
            <a:lightRig rig="balanced" dir="t"/>
          </a:scene3d>
          <a:sp3d prstMaterial="plastic"/>
        </p:spPr>
        <p:txBody>
          <a:bodyPr vert="horz" wrap="square" lIns="91440" tIns="45720" rIns="91440" bIns="45720" numCol="1" rtlCol="0" anchor="ctr" anchorCtr="0" compatLnSpc="1">
            <a:normAutofit fontScale="90000"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4000" b="0" i="0" u="none" strike="noStrike" kern="0" cap="none" spc="0" normalizeH="0" baseline="0" noProof="0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TAKWIM PELAKSANAAN PROGRAM</a:t>
            </a:r>
            <a:r>
              <a:rPr kumimoji="0" lang="en-US" sz="4000" b="1" i="0" u="none" strike="noStrike" kern="0" cap="all" spc="0" normalizeH="0" baseline="0" noProof="0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/>
            </a:r>
            <a:br>
              <a:rPr kumimoji="0" lang="en-US" sz="4000" b="1" i="0" u="none" strike="noStrike" kern="0" cap="all" spc="0" normalizeH="0" baseline="0" noProof="0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</a:br>
            <a:endParaRPr kumimoji="0" lang="en-US" sz="4000" b="1" i="0" u="none" strike="noStrike" kern="0" cap="all" spc="0" normalizeH="0" baseline="0" noProof="0" dirty="0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13317" name="Rectangle 7"/>
          <p:cNvSpPr/>
          <p:nvPr>
            <p:custDataLst>
              <p:tags r:id="rId1"/>
            </p:custDataLst>
          </p:nvPr>
        </p:nvSpPr>
        <p:spPr>
          <a:xfrm>
            <a:off x="1462088" y="2271713"/>
            <a:ext cx="3484562" cy="363537"/>
          </a:xfrm>
          <a:prstGeom prst="rect">
            <a:avLst/>
          </a:prstGeom>
          <a:noFill/>
          <a:ln w="9525">
            <a:noFill/>
          </a:ln>
        </p:spPr>
        <p:txBody>
          <a:bodyPr lIns="73152" tIns="73152" rIns="73152" bIns="73152" anchor="t">
            <a:spAutoFit/>
          </a:bodyPr>
          <a:lstStyle/>
          <a:p>
            <a:pPr marL="193675" lvl="1" indent="-191770" defTabSz="895350" eaLnBrk="1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</a:pPr>
            <a:endParaRPr lang="en-GB" altLang="x-none" sz="1400" dirty="0">
              <a:latin typeface="Arial" panose="020B0604020202020204" pitchFamily="34" charset="0"/>
            </a:endParaRPr>
          </a:p>
        </p:txBody>
      </p:sp>
      <p:sp>
        <p:nvSpPr>
          <p:cNvPr id="13318" name="Rectangle 9"/>
          <p:cNvSpPr/>
          <p:nvPr>
            <p:custDataLst>
              <p:tags r:id="rId2"/>
            </p:custDataLst>
          </p:nvPr>
        </p:nvSpPr>
        <p:spPr>
          <a:xfrm>
            <a:off x="2057400" y="1524000"/>
            <a:ext cx="3484563" cy="639763"/>
          </a:xfrm>
          <a:prstGeom prst="rect">
            <a:avLst/>
          </a:prstGeom>
          <a:noFill/>
          <a:ln w="9525">
            <a:noFill/>
          </a:ln>
        </p:spPr>
        <p:txBody>
          <a:bodyPr lIns="73152" tIns="73152" rIns="73152" bIns="73152" anchor="t">
            <a:spAutoFit/>
          </a:bodyPr>
          <a:lstStyle/>
          <a:p>
            <a:pPr marL="193675" lvl="1" indent="-191770" defTabSz="895350" eaLnBrk="1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</a:pPr>
            <a:endParaRPr lang="en-GB" altLang="x-none" sz="1600" dirty="0">
              <a:latin typeface="Arial" panose="020B0604020202020204" pitchFamily="34" charset="0"/>
            </a:endParaRPr>
          </a:p>
          <a:p>
            <a:pPr marL="193675" lvl="1" indent="-191770" defTabSz="895350" eaLnBrk="1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</a:pPr>
            <a:endParaRPr lang="en-GB" altLang="x-none" sz="1600" dirty="0">
              <a:latin typeface="Arial" panose="020B0604020202020204" pitchFamily="34" charset="0"/>
            </a:endParaRPr>
          </a:p>
        </p:txBody>
      </p:sp>
      <p:sp>
        <p:nvSpPr>
          <p:cNvPr id="13319" name="Rectangle 7"/>
          <p:cNvSpPr/>
          <p:nvPr>
            <p:custDataLst>
              <p:tags r:id="rId3"/>
            </p:custDataLst>
          </p:nvPr>
        </p:nvSpPr>
        <p:spPr>
          <a:xfrm>
            <a:off x="1614488" y="2355850"/>
            <a:ext cx="3484562" cy="363538"/>
          </a:xfrm>
          <a:prstGeom prst="rect">
            <a:avLst/>
          </a:prstGeom>
          <a:noFill/>
          <a:ln w="9525">
            <a:noFill/>
          </a:ln>
        </p:spPr>
        <p:txBody>
          <a:bodyPr lIns="73152" tIns="73152" rIns="73152" bIns="73152" anchor="t">
            <a:spAutoFit/>
          </a:bodyPr>
          <a:lstStyle/>
          <a:p>
            <a:pPr marL="193675" lvl="1" indent="-191770" defTabSz="895350" eaLnBrk="1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</a:pPr>
            <a:endParaRPr lang="en-GB" altLang="x-none" sz="1400" dirty="0">
              <a:latin typeface="Arial" panose="020B0604020202020204" pitchFamily="34" charset="0"/>
            </a:endParaRPr>
          </a:p>
        </p:txBody>
      </p:sp>
      <p:grpSp>
        <p:nvGrpSpPr>
          <p:cNvPr id="13320" name="Group 20"/>
          <p:cNvGrpSpPr/>
          <p:nvPr/>
        </p:nvGrpSpPr>
        <p:grpSpPr>
          <a:xfrm>
            <a:off x="5105400" y="6324600"/>
            <a:ext cx="4038600" cy="533400"/>
            <a:chOff x="105552150" y="109604175"/>
            <a:chExt cx="9109800" cy="1943100"/>
          </a:xfrm>
        </p:grpSpPr>
        <p:sp>
          <p:nvSpPr>
            <p:cNvPr id="13321" name="Rectangle 21"/>
            <p:cNvSpPr/>
            <p:nvPr/>
          </p:nvSpPr>
          <p:spPr>
            <a:xfrm>
              <a:off x="105552150" y="109604175"/>
              <a:ext cx="9109800" cy="1943100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txBody>
            <a:bodyPr lIns="36576" tIns="36576" rIns="36576" bIns="36576" anchor="t"/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grpSp>
          <p:nvGrpSpPr>
            <p:cNvPr id="13322" name="Group 22"/>
            <p:cNvGrpSpPr/>
            <p:nvPr/>
          </p:nvGrpSpPr>
          <p:grpSpPr>
            <a:xfrm>
              <a:off x="105860850" y="109718475"/>
              <a:ext cx="8724798" cy="1685578"/>
              <a:chOff x="105765510" y="107782995"/>
              <a:chExt cx="8724798" cy="1685578"/>
            </a:xfrm>
          </p:grpSpPr>
          <p:pic>
            <p:nvPicPr>
              <p:cNvPr id="13323" name="Picture 23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05765510" y="107859195"/>
                <a:ext cx="2145978" cy="123149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</a:ln>
            </p:spPr>
          </p:pic>
          <p:pic>
            <p:nvPicPr>
              <p:cNvPr id="13324" name="Picture 24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07918250" y="108842175"/>
                <a:ext cx="6572058" cy="243861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</a:ln>
            </p:spPr>
          </p:pic>
          <p:pic>
            <p:nvPicPr>
              <p:cNvPr id="13325" name="Picture 25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07918250" y="107782995"/>
                <a:ext cx="6400800" cy="33530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</a:ln>
            </p:spPr>
          </p:pic>
          <p:pic>
            <p:nvPicPr>
              <p:cNvPr id="13326" name="Picture 26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07918250" y="108179235"/>
                <a:ext cx="6376969" cy="35969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</a:ln>
            </p:spPr>
          </p:pic>
          <p:pic>
            <p:nvPicPr>
              <p:cNvPr id="13327" name="Picture 27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07918250" y="108575475"/>
                <a:ext cx="6400800" cy="256520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</a:ln>
            </p:spPr>
          </p:pic>
          <p:pic>
            <p:nvPicPr>
              <p:cNvPr id="13328" name="Picture 28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106348530" y="109078395"/>
                <a:ext cx="7480440" cy="390178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</a:ln>
            </p:spPr>
          </p:pic>
        </p:grpSp>
      </p:grpSp>
      <p:sp>
        <p:nvSpPr>
          <p:cNvPr id="13329" name="Rectangle 36"/>
          <p:cNvSpPr/>
          <p:nvPr/>
        </p:nvSpPr>
        <p:spPr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</a:ln>
        </p:spPr>
        <p:txBody>
          <a:bodyPr wrap="none" anchor="ctr">
            <a:spAutoFit/>
          </a:bodyPr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3330" name="Rectangle 37"/>
          <p:cNvSpPr/>
          <p:nvPr/>
        </p:nvSpPr>
        <p:spPr>
          <a:xfrm>
            <a:off x="215265" y="457200"/>
            <a:ext cx="9144000" cy="457200"/>
          </a:xfrm>
          <a:prstGeom prst="rect">
            <a:avLst/>
          </a:prstGeom>
          <a:noFill/>
          <a:ln w="9525">
            <a:noFill/>
          </a:ln>
        </p:spPr>
        <p:txBody>
          <a:bodyPr wrap="none" anchor="ctr">
            <a:spAutoFit/>
          </a:bodyPr>
          <a:lstStyle/>
          <a:p>
            <a:pPr defTabSz="0" eaLnBrk="0" hangingPunct="0">
              <a:tabLst>
                <a:tab pos="457200" algn="l"/>
              </a:tabLst>
            </a:pP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3331" name="Rectangle 38"/>
          <p:cNvSpPr/>
          <p:nvPr/>
        </p:nvSpPr>
        <p:spPr>
          <a:xfrm>
            <a:off x="0" y="914400"/>
            <a:ext cx="9144000" cy="457200"/>
          </a:xfrm>
          <a:prstGeom prst="rect">
            <a:avLst/>
          </a:prstGeom>
          <a:noFill/>
          <a:ln w="9525">
            <a:noFill/>
          </a:ln>
        </p:spPr>
        <p:txBody>
          <a:bodyPr wrap="none" anchor="ctr">
            <a:spAutoFit/>
          </a:bodyPr>
          <a:lstStyle/>
          <a:p>
            <a:pPr defTabSz="0" eaLnBrk="0" hangingPunct="0">
              <a:tabLst>
                <a:tab pos="457200" algn="l"/>
              </a:tabLst>
            </a:pP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0" name="Text Placeholder 35"/>
          <p:cNvSpPr>
            <a:spLocks noGrp="1"/>
          </p:cNvSpPr>
          <p:nvPr>
            <p:ph type="body" sz="quarter" idx="3"/>
          </p:nvPr>
        </p:nvSpPr>
        <p:spPr>
          <a:xfrm>
            <a:off x="4648200" y="1371600"/>
            <a:ext cx="4038600" cy="803275"/>
          </a:xfrm>
          <a:solidFill>
            <a:schemeClr val="accent1">
              <a:lumMod val="60000"/>
              <a:lumOff val="40000"/>
            </a:schemeClr>
          </a:solidFill>
        </p:spPr>
        <p:txBody>
          <a:bodyPr vert="horz" wrap="square" lIns="91440" tIns="45720" rIns="91440" bIns="45720" numCol="1" anchor="b" anchorCtr="0" compatLnSpc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None/>
              <a:defRPr/>
            </a:pP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ITARAN 2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None/>
              <a:defRPr/>
            </a:pP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SEMESTER 2 – </a:t>
            </a:r>
            <a:r>
              <a:rPr kumimoji="0" lang="en-US" sz="24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ulai</a:t>
            </a: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- </a:t>
            </a:r>
            <a:r>
              <a:rPr kumimoji="0" lang="en-US" sz="24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kt</a:t>
            </a: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)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2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3">
              <a:alphaModFix amt="30000"/>
            </a:blip>
            <a:srcRect/>
            <a:stretch>
              <a:fillRect/>
            </a:stretch>
          </a:blipFill>
          <a:ln w="25400">
            <a:noFill/>
            <a:miter lim="800000"/>
          </a:ln>
        </p:spPr>
        <p:txBody>
          <a:bodyPr anchor="ctr"/>
          <a:lstStyle/>
          <a:p>
            <a:pPr algn="ctr"/>
            <a:endParaRPr lang="ms-MY">
              <a:solidFill>
                <a:srgbClr val="FFFFFF"/>
              </a:solidFill>
              <a:latin typeface="Calibri" panose="020F0502020204030204" charset="0"/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</p:nvPr>
        </p:nvGraphicFramePr>
        <p:xfrm>
          <a:off x="323528" y="1700808"/>
          <a:ext cx="8820472" cy="37392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pSp>
        <p:nvGrpSpPr>
          <p:cNvPr id="2" name="Group 20"/>
          <p:cNvGrpSpPr/>
          <p:nvPr/>
        </p:nvGrpSpPr>
        <p:grpSpPr bwMode="auto">
          <a:xfrm>
            <a:off x="6516688" y="6092825"/>
            <a:ext cx="2376487" cy="576263"/>
            <a:chOff x="105552150" y="109604175"/>
            <a:chExt cx="9109800" cy="1943100"/>
          </a:xfrm>
        </p:grpSpPr>
        <p:sp>
          <p:nvSpPr>
            <p:cNvPr id="17414" name="Rectangle 21"/>
            <p:cNvSpPr>
              <a:spLocks noChangeArrowheads="1"/>
            </p:cNvSpPr>
            <p:nvPr/>
          </p:nvSpPr>
          <p:spPr bwMode="auto">
            <a:xfrm>
              <a:off x="105552150" y="109604175"/>
              <a:ext cx="9109800" cy="194310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</a:ln>
          </p:spPr>
          <p:txBody>
            <a:bodyPr lIns="36576" tIns="36576" rIns="36576" bIns="36576"/>
            <a:lstStyle/>
            <a:p>
              <a:endParaRPr lang="ms-MY">
                <a:latin typeface="Century Gothic" panose="020B0502020202020204" pitchFamily="34" charset="0"/>
              </a:endParaRPr>
            </a:p>
          </p:txBody>
        </p:sp>
        <p:grpSp>
          <p:nvGrpSpPr>
            <p:cNvPr id="3" name="Group 22"/>
            <p:cNvGrpSpPr/>
            <p:nvPr/>
          </p:nvGrpSpPr>
          <p:grpSpPr bwMode="auto">
            <a:xfrm>
              <a:off x="105860850" y="109718475"/>
              <a:ext cx="8724798" cy="1685578"/>
              <a:chOff x="105765510" y="107782995"/>
              <a:chExt cx="8724798" cy="1685578"/>
            </a:xfrm>
          </p:grpSpPr>
          <p:pic>
            <p:nvPicPr>
              <p:cNvPr id="17416" name="Picture 23"/>
              <p:cNvPicPr>
                <a:picLocks noChangeAspect="1" noChangeArrowheads="1"/>
              </p:cNvPicPr>
              <p:nvPr/>
            </p:nvPicPr>
            <p:blipFill>
              <a:blip r:embed="rId9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5765510" y="107859195"/>
                <a:ext cx="2145978" cy="123149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7417" name="Picture 24"/>
              <p:cNvPicPr>
                <a:picLocks noChangeAspect="1" noChangeArrowheads="1"/>
              </p:cNvPicPr>
              <p:nvPr/>
            </p:nvPicPr>
            <p:blipFill>
              <a:blip r:embed="rId10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8842175"/>
                <a:ext cx="6572058" cy="243861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7418" name="Picture 25"/>
              <p:cNvPicPr>
                <a:picLocks noChangeAspect="1" noChangeArrowheads="1"/>
              </p:cNvPicPr>
              <p:nvPr/>
            </p:nvPicPr>
            <p:blipFill>
              <a:blip r:embed="rId11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7782995"/>
                <a:ext cx="6400800" cy="33530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7419" name="Picture 26"/>
              <p:cNvPicPr>
                <a:picLocks noChangeAspect="1" noChangeArrowheads="1"/>
              </p:cNvPicPr>
              <p:nvPr/>
            </p:nvPicPr>
            <p:blipFill>
              <a:blip r:embed="rId12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8179235"/>
                <a:ext cx="6376969" cy="35969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7420" name="Picture 27"/>
              <p:cNvPicPr>
                <a:picLocks noChangeAspect="1" noChangeArrowheads="1"/>
              </p:cNvPicPr>
              <p:nvPr/>
            </p:nvPicPr>
            <p:blipFill>
              <a:blip r:embed="rId1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8575475"/>
                <a:ext cx="6400800" cy="256520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7421" name="Picture 28"/>
              <p:cNvPicPr>
                <a:picLocks noChangeAspect="1" noChangeArrowheads="1"/>
              </p:cNvPicPr>
              <p:nvPr/>
            </p:nvPicPr>
            <p:blipFill>
              <a:blip r:embed="rId1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6348530" y="109078395"/>
                <a:ext cx="7480440" cy="390178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</p:grpSp>
      </p:grpSp>
      <p:sp>
        <p:nvSpPr>
          <p:cNvPr id="15" name="Title 1"/>
          <p:cNvSpPr txBox="1"/>
          <p:nvPr/>
        </p:nvSpPr>
        <p:spPr bwMode="auto">
          <a:xfrm>
            <a:off x="251520" y="85752"/>
            <a:ext cx="8229600" cy="139903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anchor="ctr"/>
          <a:lstStyle/>
          <a:p>
            <a:pPr marL="484505" algn="ctr" fontAlgn="auto">
              <a:spcAft>
                <a:spcPts val="0"/>
              </a:spcAft>
              <a:defRPr/>
            </a:pPr>
            <a:r>
              <a:rPr lang="en-US" sz="4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glow rad="228600">
                    <a:srgbClr val="000000"/>
                  </a:glow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BJEKTIF PEMBELAJARAN</a:t>
            </a:r>
            <a:endParaRPr lang="en-MY" sz="44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glow rad="228600">
                  <a:srgbClr val="000000"/>
                </a:glow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AsOne/>
      </p:bldGraphic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13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2">
              <a:alphaModFix amt="30000"/>
            </a:blip>
            <a:srcRect/>
            <a:stretch>
              <a:fillRect/>
            </a:stretch>
          </a:blipFill>
          <a:ln w="25400">
            <a:noFill/>
            <a:miter lim="800000"/>
          </a:ln>
        </p:spPr>
        <p:txBody>
          <a:bodyPr anchor="ctr"/>
          <a:lstStyle/>
          <a:p>
            <a:pPr algn="ctr"/>
            <a:endParaRPr lang="ms-MY">
              <a:solidFill>
                <a:srgbClr val="FFFFFF"/>
              </a:solidFill>
              <a:latin typeface="Calibri" panose="020F050202020403020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46856" y="589808"/>
            <a:ext cx="8229600" cy="1399032"/>
          </a:xfrm>
        </p:spPr>
        <p:txBody>
          <a:bodyPr rtlCol="0">
            <a:normAutofit/>
          </a:bodyPr>
          <a:lstStyle/>
          <a:p>
            <a:pPr marL="484505" eaLnBrk="1" fontAlgn="auto" hangingPunct="1">
              <a:spcAft>
                <a:spcPts val="0"/>
              </a:spcAft>
              <a:defRPr/>
            </a:pPr>
            <a:r>
              <a:rPr lang="en-US" sz="32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glow rad="228600">
                    <a:srgbClr val="000000"/>
                  </a:glow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ERANAN ANDA MEMBUDAYAKAN PLC</a:t>
            </a:r>
            <a:endParaRPr lang="en-MY" sz="32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glow rad="228600">
                  <a:srgbClr val="000000"/>
                </a:glow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25604" name="Content Placeholder 4"/>
          <p:cNvSpPr>
            <a:spLocks noGrp="1"/>
          </p:cNvSpPr>
          <p:nvPr>
            <p:ph idx="1"/>
          </p:nvPr>
        </p:nvSpPr>
        <p:spPr>
          <a:xfrm>
            <a:off x="611188" y="2674938"/>
            <a:ext cx="8064500" cy="3451225"/>
          </a:xfrm>
        </p:spPr>
        <p:txBody>
          <a:bodyPr/>
          <a:lstStyle/>
          <a:p>
            <a:pPr marL="457200" indent="-457200" eaLnBrk="1" hangingPunct="1">
              <a:buFont typeface="Symbol" panose="05050102010706020507" pitchFamily="18" charset="2"/>
              <a:buAutoNum type="arabicPeriod"/>
            </a:pPr>
            <a:r>
              <a:rPr lang="en-US" sz="4000" dirty="0" smtClean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Di </a:t>
            </a:r>
            <a:r>
              <a:rPr lang="en-US" sz="4000" dirty="0" err="1" smtClean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manakah</a:t>
            </a:r>
            <a:r>
              <a:rPr lang="en-US" sz="4000" dirty="0" smtClean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en-US" sz="4000" dirty="0" err="1" smtClean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kedudukan</a:t>
            </a:r>
            <a:r>
              <a:rPr lang="en-US" sz="4000" dirty="0" smtClean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en-US" sz="4000" dirty="0" err="1" smtClean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anda</a:t>
            </a:r>
            <a:r>
              <a:rPr lang="en-US" sz="4000" dirty="0" smtClean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?</a:t>
            </a:r>
          </a:p>
          <a:p>
            <a:pPr marL="457200" indent="-457200" eaLnBrk="1" hangingPunct="1">
              <a:buFont typeface="Symbol" panose="05050102010706020507" pitchFamily="18" charset="2"/>
              <a:buAutoNum type="arabicPeriod"/>
            </a:pPr>
            <a:r>
              <a:rPr lang="en-US" sz="4000" dirty="0" err="1" smtClean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Apakah</a:t>
            </a:r>
            <a:r>
              <a:rPr lang="en-US" sz="4000" dirty="0" smtClean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en-US" sz="4000" dirty="0" err="1" smtClean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cabaran</a:t>
            </a:r>
            <a:r>
              <a:rPr lang="en-US" sz="4000" dirty="0" smtClean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yang </a:t>
            </a:r>
            <a:r>
              <a:rPr lang="en-US" sz="4000" dirty="0" err="1" smtClean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mungkin</a:t>
            </a:r>
            <a:r>
              <a:rPr lang="en-US" sz="4000" dirty="0" smtClean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en-US" sz="4000" dirty="0" err="1" smtClean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anda</a:t>
            </a:r>
            <a:r>
              <a:rPr lang="en-US" sz="4000" dirty="0" smtClean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en-US" sz="4000" dirty="0" err="1" smtClean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hadapi</a:t>
            </a:r>
            <a:endParaRPr lang="en-US" sz="4000" dirty="0" smtClean="0"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rcRect t="22775"/>
          <a:stretch>
            <a:fillRect/>
          </a:stretch>
        </p:blipFill>
        <p:spPr>
          <a:xfrm>
            <a:off x="114935" y="1574800"/>
            <a:ext cx="8822055" cy="523240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533400" y="304800"/>
            <a:ext cx="8229600" cy="10668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MY" altLang="en-US" sz="2800">
                <a:latin typeface="Arial Black" panose="020B0A04020102020204" pitchFamily="34" charset="0"/>
                <a:cs typeface="Arial Black" panose="020B0A04020102020204" pitchFamily="34" charset="0"/>
              </a:rPr>
              <a:t>5 amalan kepimpinan untuk membudayakan PLC di sekolah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 descr="LOGOPLC 2014&#10;7&#10;KONSEP PLC&#10;Aktiviti 1&#10;Apakah yang anda tahu dan faham tentang PLC?&#10; 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958"/>
          <a:stretch>
            <a:fillRect/>
          </a:stretch>
        </p:blipFill>
        <p:spPr bwMode="auto">
          <a:xfrm>
            <a:off x="1596628" y="0"/>
            <a:ext cx="7547372" cy="6705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KOMUNITI PEMBELAJARAN PROFESIONAL: MODUS OPERANDIKEMENTERIAN PELAJARANM A L AY S I A            1   Utama Slaid Sebelum Sl...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603"/>
          <a:stretch>
            <a:fillRect/>
          </a:stretch>
        </p:blipFill>
        <p:spPr bwMode="auto">
          <a:xfrm>
            <a:off x="0" y="0"/>
            <a:ext cx="159662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8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2">
              <a:alphaModFix amt="30000"/>
            </a:blip>
            <a:srcRect/>
            <a:stretch>
              <a:fillRect/>
            </a:stretch>
          </a:blipFill>
          <a:ln w="25400">
            <a:noFill/>
            <a:miter lim="800000"/>
          </a:ln>
        </p:spPr>
        <p:txBody>
          <a:bodyPr anchor="ctr"/>
          <a:lstStyle/>
          <a:p>
            <a:pPr algn="ctr"/>
            <a:endParaRPr lang="ms-MY">
              <a:solidFill>
                <a:srgbClr val="FFFFFF"/>
              </a:solidFill>
              <a:latin typeface="Calibri" panose="020F0502020204030204" charset="0"/>
            </a:endParaRPr>
          </a:p>
        </p:txBody>
      </p:sp>
      <p:grpSp>
        <p:nvGrpSpPr>
          <p:cNvPr id="8" name="Group 7"/>
          <p:cNvGrpSpPr/>
          <p:nvPr/>
        </p:nvGrpSpPr>
        <p:grpSpPr bwMode="auto">
          <a:xfrm>
            <a:off x="-107950" y="125413"/>
            <a:ext cx="9359900" cy="6669087"/>
            <a:chOff x="-108520" y="188640"/>
            <a:chExt cx="9361040" cy="6669360"/>
          </a:xfrm>
        </p:grpSpPr>
        <p:graphicFrame>
          <p:nvGraphicFramePr>
            <p:cNvPr id="2" name="Diagram 1"/>
            <p:cNvGraphicFramePr/>
            <p:nvPr/>
          </p:nvGraphicFramePr>
          <p:xfrm>
            <a:off x="-108520" y="332656"/>
            <a:ext cx="9361040" cy="6408712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sp>
          <p:nvSpPr>
            <p:cNvPr id="3" name="Donut 2"/>
            <p:cNvSpPr/>
            <p:nvPr/>
          </p:nvSpPr>
          <p:spPr>
            <a:xfrm>
              <a:off x="1212441" y="188640"/>
              <a:ext cx="6696891" cy="6669360"/>
            </a:xfrm>
            <a:prstGeom prst="donut">
              <a:avLst>
                <a:gd name="adj" fmla="val 538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ms-MY" dirty="0">
                <a:solidFill>
                  <a:schemeClr val="tx1"/>
                </a:solidFill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1444124" y="332656"/>
              <a:ext cx="6264696" cy="6336704"/>
            </a:xfrm>
            <a:prstGeom prst="rect">
              <a:avLst/>
            </a:prstGeom>
            <a:noFill/>
          </p:spPr>
          <p:txBody>
            <a:bodyPr spcFirstLastPara="1" wrap="none">
              <a:prstTxWarp prst="textCircle">
                <a:avLst>
                  <a:gd name="adj" fmla="val 7455104"/>
                </a:avLst>
              </a:prstTxWarp>
              <a:spAutoFit/>
            </a:bodyPr>
            <a:lstStyle/>
            <a:p>
              <a:pPr algn="ctr">
                <a:defRPr/>
              </a:pPr>
              <a:r>
                <a:rPr lang="en-US" sz="2400" dirty="0">
                  <a:ln w="12700">
                    <a:solidFill>
                      <a:sysClr val="windowText" lastClr="000000"/>
                    </a:solidFill>
                    <a:prstDash val="solid"/>
                  </a:ln>
                  <a:solidFill>
                    <a:srgbClr val="000000"/>
                  </a:solidFill>
                  <a:ea typeface="+mn-ea"/>
                  <a:cs typeface="Arial" panose="020B0604020202020204" pitchFamily="34" charset="0"/>
                </a:rPr>
                <a:t>AMALAN TERBAIK</a:t>
              </a:r>
            </a:p>
          </p:txBody>
        </p:sp>
        <p:sp>
          <p:nvSpPr>
            <p:cNvPr id="5" name="Rectangle 4"/>
            <p:cNvSpPr/>
            <p:nvPr/>
          </p:nvSpPr>
          <p:spPr>
            <a:xfrm rot="5400000">
              <a:off x="1423098" y="390460"/>
              <a:ext cx="6264696" cy="6336704"/>
            </a:xfrm>
            <a:prstGeom prst="rect">
              <a:avLst/>
            </a:prstGeom>
            <a:noFill/>
          </p:spPr>
          <p:txBody>
            <a:bodyPr spcFirstLastPara="1" wrap="none">
              <a:prstTxWarp prst="textCircle">
                <a:avLst>
                  <a:gd name="adj" fmla="val 7455104"/>
                </a:avLst>
              </a:prstTxWarp>
              <a:spAutoFit/>
            </a:bodyPr>
            <a:lstStyle/>
            <a:p>
              <a:pPr algn="ctr">
                <a:defRPr/>
              </a:pPr>
              <a:r>
                <a:rPr lang="en-US" sz="2400" dirty="0">
                  <a:ln w="12700">
                    <a:solidFill>
                      <a:sysClr val="windowText" lastClr="000000"/>
                    </a:solidFill>
                    <a:prstDash val="solid"/>
                  </a:ln>
                  <a:solidFill>
                    <a:srgbClr val="000000"/>
                  </a:solidFill>
                  <a:ea typeface="+mn-ea"/>
                  <a:cs typeface="Arial" panose="020B0604020202020204" pitchFamily="34" charset="0"/>
                </a:rPr>
                <a:t>AMALAN TERBAIK</a:t>
              </a:r>
            </a:p>
          </p:txBody>
        </p:sp>
        <p:sp>
          <p:nvSpPr>
            <p:cNvPr id="6" name="Rectangle 5"/>
            <p:cNvSpPr/>
            <p:nvPr/>
          </p:nvSpPr>
          <p:spPr>
            <a:xfrm rot="10800000">
              <a:off x="1419415" y="352894"/>
              <a:ext cx="6264696" cy="6336704"/>
            </a:xfrm>
            <a:prstGeom prst="rect">
              <a:avLst/>
            </a:prstGeom>
            <a:noFill/>
          </p:spPr>
          <p:txBody>
            <a:bodyPr spcFirstLastPara="1" wrap="none">
              <a:prstTxWarp prst="textCircle">
                <a:avLst>
                  <a:gd name="adj" fmla="val 7455104"/>
                </a:avLst>
              </a:prstTxWarp>
              <a:spAutoFit/>
            </a:bodyPr>
            <a:lstStyle/>
            <a:p>
              <a:pPr algn="ctr">
                <a:defRPr/>
              </a:pPr>
              <a:r>
                <a:rPr lang="en-US" sz="2400" dirty="0">
                  <a:ln w="12700">
                    <a:solidFill>
                      <a:sysClr val="windowText" lastClr="000000"/>
                    </a:solidFill>
                    <a:prstDash val="solid"/>
                  </a:ln>
                  <a:solidFill>
                    <a:srgbClr val="000000"/>
                  </a:solidFill>
                  <a:ea typeface="+mn-ea"/>
                  <a:cs typeface="Arial" panose="020B0604020202020204" pitchFamily="34" charset="0"/>
                </a:rPr>
                <a:t>AMALAN TERBAIK</a:t>
              </a:r>
            </a:p>
          </p:txBody>
        </p:sp>
        <p:sp>
          <p:nvSpPr>
            <p:cNvPr id="7" name="Rectangle 6"/>
            <p:cNvSpPr/>
            <p:nvPr/>
          </p:nvSpPr>
          <p:spPr>
            <a:xfrm rot="16200000">
              <a:off x="1439652" y="321362"/>
              <a:ext cx="6264696" cy="6336704"/>
            </a:xfrm>
            <a:prstGeom prst="rect">
              <a:avLst/>
            </a:prstGeom>
            <a:noFill/>
          </p:spPr>
          <p:txBody>
            <a:bodyPr spcFirstLastPara="1" wrap="none">
              <a:prstTxWarp prst="textCircle">
                <a:avLst>
                  <a:gd name="adj" fmla="val 7455104"/>
                </a:avLst>
              </a:prstTxWarp>
              <a:spAutoFit/>
            </a:bodyPr>
            <a:lstStyle/>
            <a:p>
              <a:pPr algn="ctr">
                <a:defRPr/>
              </a:pPr>
              <a:r>
                <a:rPr lang="en-US" sz="2400" dirty="0">
                  <a:ln w="12700">
                    <a:solidFill>
                      <a:sysClr val="windowText" lastClr="000000"/>
                    </a:solidFill>
                    <a:prstDash val="solid"/>
                  </a:ln>
                  <a:solidFill>
                    <a:srgbClr val="000000"/>
                  </a:solidFill>
                  <a:ea typeface="+mn-ea"/>
                  <a:cs typeface="Arial" panose="020B0604020202020204" pitchFamily="34" charset="0"/>
                </a:rPr>
                <a:t>AMALAN TERBAIK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hape 441"/>
          <p:cNvSpPr txBox="1">
            <a:spLocks noGrp="1"/>
          </p:cNvSpPr>
          <p:nvPr>
            <p:ph type="title"/>
          </p:nvPr>
        </p:nvSpPr>
        <p:spPr>
          <a:xfrm>
            <a:off x="246380" y="274955"/>
            <a:ext cx="8641715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 Black" panose="020B0A04020102020204"/>
              <a:buNone/>
            </a:pPr>
            <a:r>
              <a:rPr lang="en-MY" altLang="en-GB" sz="2400" b="0" i="0" u="none" strike="noStrike" cap="none" dirty="0">
                <a:solidFill>
                  <a:srgbClr val="FF0000"/>
                </a:solidFill>
                <a:latin typeface="Arial Black" panose="020B0A04020102020204"/>
                <a:ea typeface="Arial Black" panose="020B0A04020102020204"/>
                <a:cs typeface="Arial Black" panose="020B0A04020102020204"/>
                <a:sym typeface="Arial Black" panose="020B0A04020102020204"/>
              </a:rPr>
              <a:t>PDCA dalam </a:t>
            </a:r>
            <a:r>
              <a:rPr lang="en-GB" sz="2400" b="0" i="0" u="none" strike="noStrike" cap="none" dirty="0">
                <a:solidFill>
                  <a:srgbClr val="FF0000"/>
                </a:solidFill>
                <a:latin typeface="Arial Black" panose="020B0A04020102020204"/>
                <a:ea typeface="Arial Black" panose="020B0A04020102020204"/>
                <a:cs typeface="Arial Black" panose="020B0A04020102020204"/>
                <a:sym typeface="Arial Black" panose="020B0A04020102020204"/>
              </a:rPr>
              <a:t>PROSES PELAKSANAAN </a:t>
            </a:r>
            <a:r>
              <a:rPr lang="en-GB" sz="2400" b="0" i="1" u="none" strike="noStrike" cap="none" dirty="0">
                <a:solidFill>
                  <a:srgbClr val="FF0000"/>
                </a:solidFill>
                <a:latin typeface="Arial Black" panose="020B0A04020102020204"/>
                <a:ea typeface="Arial Black" panose="020B0A04020102020204"/>
                <a:cs typeface="Arial Black" panose="020B0A04020102020204"/>
                <a:sym typeface="Arial Black" panose="020B0A04020102020204"/>
              </a:rPr>
              <a:t>PLC</a:t>
            </a:r>
          </a:p>
        </p:txBody>
      </p:sp>
      <p:pic>
        <p:nvPicPr>
          <p:cNvPr id="2" name="Content Placeholder 1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04775" y="834390"/>
            <a:ext cx="8858250" cy="593471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3" cstate="print">
              <a:alphaModFix amt="30000"/>
            </a:blip>
            <a:srcRect/>
            <a:stretch>
              <a:fillRect/>
            </a:stretch>
          </a:blipFill>
          <a:ln>
            <a:noFill/>
          </a:ln>
        </p:spPr>
        <p:txBody>
          <a:bodyPr anchor="ctr"/>
          <a:lstStyle/>
          <a:p>
            <a:pPr algn="ctr">
              <a:defRPr/>
            </a:pPr>
            <a:endParaRPr lang="ms-MY">
              <a:solidFill>
                <a:schemeClr val="lt1"/>
              </a:solidFill>
              <a:latin typeface="+mn-lt"/>
              <a:ea typeface="+mn-ea"/>
            </a:endParaRPr>
          </a:p>
        </p:txBody>
      </p:sp>
      <p:grpSp>
        <p:nvGrpSpPr>
          <p:cNvPr id="2" name="Group 20"/>
          <p:cNvGrpSpPr/>
          <p:nvPr/>
        </p:nvGrpSpPr>
        <p:grpSpPr bwMode="auto">
          <a:xfrm>
            <a:off x="2484438" y="5661025"/>
            <a:ext cx="4175125" cy="909638"/>
            <a:chOff x="105552150" y="109604175"/>
            <a:chExt cx="9109800" cy="1943100"/>
          </a:xfrm>
        </p:grpSpPr>
        <p:sp>
          <p:nvSpPr>
            <p:cNvPr id="2056" name="Rectangle 21"/>
            <p:cNvSpPr>
              <a:spLocks noChangeArrowheads="1"/>
            </p:cNvSpPr>
            <p:nvPr/>
          </p:nvSpPr>
          <p:spPr bwMode="auto">
            <a:xfrm>
              <a:off x="105552150" y="109604175"/>
              <a:ext cx="9109800" cy="194310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</a:ln>
          </p:spPr>
          <p:txBody>
            <a:bodyPr lIns="36576" tIns="36576" rIns="36576" bIns="36576"/>
            <a:lstStyle/>
            <a:p>
              <a:endParaRPr lang="ms-MY">
                <a:latin typeface="Century Gothic" panose="020B0502020202020204" pitchFamily="34" charset="0"/>
              </a:endParaRPr>
            </a:p>
          </p:txBody>
        </p:sp>
        <p:grpSp>
          <p:nvGrpSpPr>
            <p:cNvPr id="3" name="Group 22"/>
            <p:cNvGrpSpPr/>
            <p:nvPr/>
          </p:nvGrpSpPr>
          <p:grpSpPr bwMode="auto">
            <a:xfrm>
              <a:off x="105860850" y="109718475"/>
              <a:ext cx="8724798" cy="1685578"/>
              <a:chOff x="105765510" y="107782995"/>
              <a:chExt cx="8724798" cy="1685578"/>
            </a:xfrm>
          </p:grpSpPr>
          <p:pic>
            <p:nvPicPr>
              <p:cNvPr id="2058" name="Picture 23"/>
              <p:cNvPicPr>
                <a:picLocks noChangeAspect="1" noChangeArrowheads="1"/>
              </p:cNvPicPr>
              <p:nvPr/>
            </p:nvPicPr>
            <p:blipFill>
              <a:blip r:embed="rId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5765510" y="107859195"/>
                <a:ext cx="2145978" cy="123149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059" name="Picture 24"/>
              <p:cNvPicPr>
                <a:picLocks noChangeAspect="1" noChangeArrowheads="1"/>
              </p:cNvPicPr>
              <p:nvPr/>
            </p:nvPicPr>
            <p:blipFill>
              <a:blip r:embed="rId5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8842175"/>
                <a:ext cx="6572058" cy="243861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060" name="Picture 25"/>
              <p:cNvPicPr>
                <a:picLocks noChangeAspect="1" noChangeArrowheads="1"/>
              </p:cNvPicPr>
              <p:nvPr/>
            </p:nvPicPr>
            <p:blipFill>
              <a:blip r:embed="rId6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7782995"/>
                <a:ext cx="6400800" cy="33530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061" name="Picture 26"/>
              <p:cNvPicPr>
                <a:picLocks noChangeAspect="1" noChangeArrowheads="1"/>
              </p:cNvPicPr>
              <p:nvPr/>
            </p:nvPicPr>
            <p:blipFill>
              <a:blip r:embed="rId7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8179235"/>
                <a:ext cx="6376969" cy="35969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062" name="Picture 27"/>
              <p:cNvPicPr>
                <a:picLocks noChangeAspect="1" noChangeArrowheads="1"/>
              </p:cNvPicPr>
              <p:nvPr/>
            </p:nvPicPr>
            <p:blipFill>
              <a:blip r:embed="rId8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8575475"/>
                <a:ext cx="6400800" cy="256520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063" name="Picture 28"/>
              <p:cNvPicPr>
                <a:picLocks noChangeAspect="1" noChangeArrowheads="1"/>
              </p:cNvPicPr>
              <p:nvPr/>
            </p:nvPicPr>
            <p:blipFill>
              <a:blip r:embed="rId9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6348530" y="109078395"/>
                <a:ext cx="7480440" cy="390178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</p:grpSp>
      </p:grpSp>
      <p:sp>
        <p:nvSpPr>
          <p:cNvPr id="16" name="Title 1"/>
          <p:cNvSpPr txBox="1"/>
          <p:nvPr/>
        </p:nvSpPr>
        <p:spPr>
          <a:xfrm>
            <a:off x="-108520" y="2751063"/>
            <a:ext cx="8784976" cy="1470025"/>
          </a:xfrm>
          <a:prstGeom prst="rect">
            <a:avLst/>
          </a:prstGeom>
        </p:spPr>
        <p:txBody>
          <a:bodyPr/>
          <a:lstStyle/>
          <a:p>
            <a:pPr marL="484505" algn="ctr" fontAlgn="auto">
              <a:spcAft>
                <a:spcPts val="0"/>
              </a:spcAft>
              <a:defRPr/>
            </a:pPr>
            <a:r>
              <a:rPr lang="en-US" sz="4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glow rad="228600">
                    <a:srgbClr val="000000"/>
                  </a:glow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ea typeface="+mj-ea"/>
                <a:cs typeface="Arial" panose="020B0604020202020204" pitchFamily="34" charset="0"/>
              </a:rPr>
              <a:t>PERANCANGAN </a:t>
            </a:r>
          </a:p>
          <a:p>
            <a:pPr marL="484505" algn="ctr" fontAlgn="auto">
              <a:spcAft>
                <a:spcPts val="0"/>
              </a:spcAft>
              <a:defRPr/>
            </a:pPr>
            <a:r>
              <a:rPr lang="en-US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glow rad="228600">
                    <a:srgbClr val="000000"/>
                  </a:glow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ea typeface="+mj-ea"/>
                <a:cs typeface="Arial" panose="020B0604020202020204" pitchFamily="34" charset="0"/>
              </a:rPr>
              <a:t>PROGRAM KOMUNITI PEMBELAJARAN PROFESIONAL </a:t>
            </a:r>
            <a:r>
              <a:rPr lang="en-US" sz="36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glow rad="228600">
                    <a:srgbClr val="000000"/>
                  </a:glow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ea typeface="+mj-ea"/>
                <a:cs typeface="Arial" panose="020B0604020202020204" pitchFamily="34" charset="0"/>
              </a:rPr>
              <a:t>(PLC)</a:t>
            </a:r>
            <a:endParaRPr lang="en-MY" sz="36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glow rad="228600">
                  <a:srgbClr val="000000"/>
                </a:glow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ea typeface="+mj-ea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2" cstate="print">
              <a:alphaModFix amt="30000"/>
            </a:blip>
            <a:srcRect/>
            <a:stretch>
              <a:fillRect/>
            </a:stretch>
          </a:blipFill>
          <a:ln>
            <a:noFill/>
          </a:ln>
        </p:spPr>
        <p:txBody>
          <a:bodyPr anchor="ctr"/>
          <a:lstStyle/>
          <a:p>
            <a:pPr algn="ctr">
              <a:defRPr/>
            </a:pPr>
            <a:endParaRPr lang="ms-MY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67494"/>
            <a:ext cx="8229600" cy="1399032"/>
          </a:xfrm>
        </p:spPr>
        <p:txBody>
          <a:bodyPr rtlCol="0">
            <a:normAutofit/>
          </a:bodyPr>
          <a:lstStyle/>
          <a:p>
            <a:pPr marL="484505" eaLnBrk="1" fontAlgn="auto" hangingPunct="1">
              <a:spcAft>
                <a:spcPts val="0"/>
              </a:spcAft>
              <a:defRPr/>
            </a:pPr>
            <a:r>
              <a:rPr lang="en-US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glow rad="228600">
                    <a:srgbClr val="000000"/>
                  </a:glow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BJEKTIF PEMBELAJARAN</a:t>
            </a:r>
            <a:endParaRPr lang="en-MY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glow rad="228600">
                  <a:srgbClr val="000000"/>
                </a:glow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3076" name="Content Placeholder 2"/>
          <p:cNvSpPr>
            <a:spLocks noGrp="1"/>
          </p:cNvSpPr>
          <p:nvPr>
            <p:ph idx="1"/>
          </p:nvPr>
        </p:nvSpPr>
        <p:spPr>
          <a:xfrm>
            <a:off x="457200" y="1928813"/>
            <a:ext cx="8229600" cy="4197350"/>
          </a:xfrm>
        </p:spPr>
        <p:txBody>
          <a:bodyPr/>
          <a:lstStyle/>
          <a:p>
            <a:pPr eaLnBrk="1" hangingPunct="1"/>
            <a:r>
              <a:rPr lang="en-US" sz="3600" smtClean="0">
                <a:latin typeface="Arial" panose="020B0604020202020204" pitchFamily="34" charset="0"/>
                <a:cs typeface="Arial" panose="020B0604020202020204" pitchFamily="34" charset="0"/>
              </a:rPr>
              <a:t>Merencanakan hala tuju dan proses pelaksanaan PLC</a:t>
            </a:r>
          </a:p>
          <a:p>
            <a:pPr eaLnBrk="1" hangingPunct="1">
              <a:buFont typeface="Wingdings 2" panose="05020102010507070707" pitchFamily="18" charset="2"/>
              <a:buNone/>
            </a:pPr>
            <a:endParaRPr lang="en-US" sz="360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en-US" sz="3600" smtClean="0">
                <a:latin typeface="Arial" panose="020B0604020202020204" pitchFamily="34" charset="0"/>
                <a:cs typeface="Arial" panose="020B0604020202020204" pitchFamily="34" charset="0"/>
              </a:rPr>
              <a:t>Membina pelan tindakan pelaksanaan PLC di sekolah</a:t>
            </a:r>
          </a:p>
          <a:p>
            <a:pPr eaLnBrk="1" hangingPunct="1">
              <a:buFont typeface="Wingdings 2" panose="05020102010507070707" pitchFamily="18" charset="2"/>
              <a:buNone/>
            </a:pPr>
            <a:endParaRPr lang="en-US" smtClean="0"/>
          </a:p>
        </p:txBody>
      </p:sp>
      <p:grpSp>
        <p:nvGrpSpPr>
          <p:cNvPr id="3" name="Group 20"/>
          <p:cNvGrpSpPr/>
          <p:nvPr/>
        </p:nvGrpSpPr>
        <p:grpSpPr bwMode="auto">
          <a:xfrm>
            <a:off x="6516688" y="6092825"/>
            <a:ext cx="2376487" cy="576263"/>
            <a:chOff x="105552150" y="109604175"/>
            <a:chExt cx="9109800" cy="1943100"/>
          </a:xfrm>
        </p:grpSpPr>
        <p:sp>
          <p:nvSpPr>
            <p:cNvPr id="3078" name="Rectangle 21"/>
            <p:cNvSpPr>
              <a:spLocks noChangeArrowheads="1"/>
            </p:cNvSpPr>
            <p:nvPr/>
          </p:nvSpPr>
          <p:spPr bwMode="auto">
            <a:xfrm>
              <a:off x="105552150" y="109604175"/>
              <a:ext cx="9109800" cy="194310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</a:ln>
          </p:spPr>
          <p:txBody>
            <a:bodyPr lIns="36576" tIns="36576" rIns="36576" bIns="36576"/>
            <a:lstStyle/>
            <a:p>
              <a:endParaRPr lang="ms-MY">
                <a:latin typeface="Century Gothic" panose="020B0502020202020204" pitchFamily="34" charset="0"/>
              </a:endParaRPr>
            </a:p>
          </p:txBody>
        </p:sp>
        <p:grpSp>
          <p:nvGrpSpPr>
            <p:cNvPr id="4" name="Group 22"/>
            <p:cNvGrpSpPr/>
            <p:nvPr/>
          </p:nvGrpSpPr>
          <p:grpSpPr bwMode="auto">
            <a:xfrm>
              <a:off x="105860850" y="109718475"/>
              <a:ext cx="8724798" cy="1685578"/>
              <a:chOff x="105765510" y="107782995"/>
              <a:chExt cx="8724798" cy="1685578"/>
            </a:xfrm>
          </p:grpSpPr>
          <p:pic>
            <p:nvPicPr>
              <p:cNvPr id="3080" name="Picture 23"/>
              <p:cNvPicPr>
                <a:picLocks noChangeAspect="1" noChangeArrowheads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5765510" y="107859195"/>
                <a:ext cx="2145978" cy="123149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081" name="Picture 24"/>
              <p:cNvPicPr>
                <a:picLocks noChangeAspect="1" noChangeArrowheads="1"/>
              </p:cNvPicPr>
              <p:nvPr/>
            </p:nvPicPr>
            <p:blipFill>
              <a:blip r:embed="rId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8842175"/>
                <a:ext cx="6572058" cy="243861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082" name="Picture 25"/>
              <p:cNvPicPr>
                <a:picLocks noChangeAspect="1" noChangeArrowheads="1"/>
              </p:cNvPicPr>
              <p:nvPr/>
            </p:nvPicPr>
            <p:blipFill>
              <a:blip r:embed="rId5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7782995"/>
                <a:ext cx="6400800" cy="33530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083" name="Picture 26"/>
              <p:cNvPicPr>
                <a:picLocks noChangeAspect="1" noChangeArrowheads="1"/>
              </p:cNvPicPr>
              <p:nvPr/>
            </p:nvPicPr>
            <p:blipFill>
              <a:blip r:embed="rId6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8179235"/>
                <a:ext cx="6376969" cy="35969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084" name="Picture 27"/>
              <p:cNvPicPr>
                <a:picLocks noChangeAspect="1" noChangeArrowheads="1"/>
              </p:cNvPicPr>
              <p:nvPr/>
            </p:nvPicPr>
            <p:blipFill>
              <a:blip r:embed="rId7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8575475"/>
                <a:ext cx="6400800" cy="256520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085" name="Picture 28"/>
              <p:cNvPicPr>
                <a:picLocks noChangeAspect="1" noChangeArrowheads="1"/>
              </p:cNvPicPr>
              <p:nvPr/>
            </p:nvPicPr>
            <p:blipFill>
              <a:blip r:embed="rId8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6348530" y="109078395"/>
                <a:ext cx="7480440" cy="390178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2" cstate="print">
              <a:alphaModFix amt="30000"/>
            </a:blip>
            <a:srcRect/>
            <a:stretch>
              <a:fillRect/>
            </a:stretch>
          </a:blipFill>
          <a:ln>
            <a:noFill/>
          </a:ln>
        </p:spPr>
        <p:txBody>
          <a:bodyPr anchor="ctr"/>
          <a:lstStyle/>
          <a:p>
            <a:pPr algn="ctr">
              <a:defRPr/>
            </a:pPr>
            <a:endParaRPr lang="ms-MY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/>
          <a:p>
            <a:pPr marL="484505" eaLnBrk="1" fontAlgn="auto" hangingPunct="1">
              <a:spcAft>
                <a:spcPts val="0"/>
              </a:spcAft>
              <a:defRPr/>
            </a:pPr>
            <a:r>
              <a:rPr lang="en-US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glow rad="228600">
                    <a:srgbClr val="000000"/>
                  </a:glow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RANCANG PLC</a:t>
            </a:r>
            <a:endParaRPr lang="en-MY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glow rad="228600">
                  <a:srgbClr val="000000"/>
                </a:glow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457200" y="1556792"/>
          <a:ext cx="8229600" cy="4572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3" name="Group 20"/>
          <p:cNvGrpSpPr/>
          <p:nvPr/>
        </p:nvGrpSpPr>
        <p:grpSpPr bwMode="auto">
          <a:xfrm>
            <a:off x="6516688" y="6092825"/>
            <a:ext cx="2376487" cy="576263"/>
            <a:chOff x="105552150" y="109604175"/>
            <a:chExt cx="9109800" cy="1943100"/>
          </a:xfrm>
        </p:grpSpPr>
        <p:sp>
          <p:nvSpPr>
            <p:cNvPr id="4102" name="Rectangle 21"/>
            <p:cNvSpPr>
              <a:spLocks noChangeArrowheads="1"/>
            </p:cNvSpPr>
            <p:nvPr/>
          </p:nvSpPr>
          <p:spPr bwMode="auto">
            <a:xfrm>
              <a:off x="105552150" y="109604175"/>
              <a:ext cx="9109800" cy="194310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</a:ln>
          </p:spPr>
          <p:txBody>
            <a:bodyPr lIns="36576" tIns="36576" rIns="36576" bIns="36576"/>
            <a:lstStyle/>
            <a:p>
              <a:endParaRPr lang="ms-MY">
                <a:latin typeface="Century Gothic" panose="020B0502020202020204" pitchFamily="34" charset="0"/>
              </a:endParaRPr>
            </a:p>
          </p:txBody>
        </p:sp>
        <p:grpSp>
          <p:nvGrpSpPr>
            <p:cNvPr id="5" name="Group 22"/>
            <p:cNvGrpSpPr/>
            <p:nvPr/>
          </p:nvGrpSpPr>
          <p:grpSpPr bwMode="auto">
            <a:xfrm>
              <a:off x="105860850" y="109718475"/>
              <a:ext cx="8724798" cy="1685578"/>
              <a:chOff x="105765510" y="107782995"/>
              <a:chExt cx="8724798" cy="1685578"/>
            </a:xfrm>
          </p:grpSpPr>
          <p:pic>
            <p:nvPicPr>
              <p:cNvPr id="4104" name="Picture 23"/>
              <p:cNvPicPr>
                <a:picLocks noChangeAspect="1" noChangeArrowheads="1"/>
              </p:cNvPicPr>
              <p:nvPr/>
            </p:nvPicPr>
            <p:blipFill>
              <a:blip r:embed="rId8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5765510" y="107859195"/>
                <a:ext cx="2145978" cy="123149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4105" name="Picture 24"/>
              <p:cNvPicPr>
                <a:picLocks noChangeAspect="1" noChangeArrowheads="1"/>
              </p:cNvPicPr>
              <p:nvPr/>
            </p:nvPicPr>
            <p:blipFill>
              <a:blip r:embed="rId9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8842175"/>
                <a:ext cx="6572058" cy="243861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4106" name="Picture 25"/>
              <p:cNvPicPr>
                <a:picLocks noChangeAspect="1" noChangeArrowheads="1"/>
              </p:cNvPicPr>
              <p:nvPr/>
            </p:nvPicPr>
            <p:blipFill>
              <a:blip r:embed="rId10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7782995"/>
                <a:ext cx="6400800" cy="33530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4107" name="Picture 26"/>
              <p:cNvPicPr>
                <a:picLocks noChangeAspect="1" noChangeArrowheads="1"/>
              </p:cNvPicPr>
              <p:nvPr/>
            </p:nvPicPr>
            <p:blipFill>
              <a:blip r:embed="rId11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8179235"/>
                <a:ext cx="6376969" cy="35969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4108" name="Picture 27"/>
              <p:cNvPicPr>
                <a:picLocks noChangeAspect="1" noChangeArrowheads="1"/>
              </p:cNvPicPr>
              <p:nvPr/>
            </p:nvPicPr>
            <p:blipFill>
              <a:blip r:embed="rId12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8575475"/>
                <a:ext cx="6400800" cy="256520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4109" name="Picture 28"/>
              <p:cNvPicPr>
                <a:picLocks noChangeAspect="1" noChangeArrowheads="1"/>
              </p:cNvPicPr>
              <p:nvPr/>
            </p:nvPicPr>
            <p:blipFill>
              <a:blip r:embed="rId1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6348530" y="109078395"/>
                <a:ext cx="7480440" cy="390178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2" cstate="print">
              <a:alphaModFix amt="30000"/>
            </a:blip>
            <a:srcRect/>
            <a:stretch>
              <a:fillRect/>
            </a:stretch>
          </a:blipFill>
          <a:ln>
            <a:noFill/>
          </a:ln>
        </p:spPr>
        <p:txBody>
          <a:bodyPr anchor="ctr"/>
          <a:lstStyle/>
          <a:p>
            <a:pPr algn="ctr">
              <a:defRPr/>
            </a:pPr>
            <a:endParaRPr lang="ms-MY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816" y="229768"/>
            <a:ext cx="8229600" cy="1399032"/>
          </a:xfrm>
        </p:spPr>
        <p:txBody>
          <a:bodyPr rtlCol="0">
            <a:noAutofit/>
          </a:bodyPr>
          <a:lstStyle/>
          <a:p>
            <a:pPr marL="484505" eaLnBrk="1" fontAlgn="auto" hangingPunct="1">
              <a:spcAft>
                <a:spcPts val="0"/>
              </a:spcAft>
              <a:defRPr/>
            </a:pPr>
            <a:r>
              <a:rPr lang="en-US" sz="36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glow rad="228600">
                    <a:srgbClr val="000000"/>
                  </a:glow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INDAKAN  YANG  PERLU UNTUK MEMBENTUK PLC </a:t>
            </a:r>
            <a:endParaRPr lang="en-MY" sz="36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glow rad="228600">
                  <a:srgbClr val="000000"/>
                </a:glow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</p:nvPr>
        </p:nvGraphicFramePr>
        <p:xfrm>
          <a:off x="347954" y="1556792"/>
          <a:ext cx="8472518" cy="51845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15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2">
              <a:alphaModFix amt="30000"/>
            </a:blip>
            <a:srcRect/>
            <a:stretch>
              <a:fillRect/>
            </a:stretch>
          </a:blipFill>
          <a:ln w="25400">
            <a:noFill/>
            <a:miter lim="800000"/>
          </a:ln>
        </p:spPr>
        <p:txBody>
          <a:bodyPr anchor="ctr"/>
          <a:lstStyle/>
          <a:p>
            <a:pPr algn="ctr"/>
            <a:endParaRPr lang="ms-MY">
              <a:solidFill>
                <a:srgbClr val="FFFFFF"/>
              </a:solidFill>
              <a:latin typeface="Calibri" panose="020F0502020204030204" charset="0"/>
            </a:endParaRPr>
          </a:p>
        </p:txBody>
      </p:sp>
      <p:grpSp>
        <p:nvGrpSpPr>
          <p:cNvPr id="2" name="Group 20"/>
          <p:cNvGrpSpPr/>
          <p:nvPr/>
        </p:nvGrpSpPr>
        <p:grpSpPr bwMode="auto">
          <a:xfrm>
            <a:off x="2484438" y="5661025"/>
            <a:ext cx="4175125" cy="909638"/>
            <a:chOff x="105552150" y="109604175"/>
            <a:chExt cx="9109800" cy="1943100"/>
          </a:xfrm>
        </p:grpSpPr>
        <p:sp>
          <p:nvSpPr>
            <p:cNvPr id="5128" name="Rectangle 21"/>
            <p:cNvSpPr>
              <a:spLocks noChangeArrowheads="1"/>
            </p:cNvSpPr>
            <p:nvPr/>
          </p:nvSpPr>
          <p:spPr bwMode="auto">
            <a:xfrm>
              <a:off x="105552150" y="109604175"/>
              <a:ext cx="9109800" cy="194310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</a:ln>
          </p:spPr>
          <p:txBody>
            <a:bodyPr lIns="36576" tIns="36576" rIns="36576" bIns="36576"/>
            <a:lstStyle/>
            <a:p>
              <a:endParaRPr lang="ms-MY">
                <a:latin typeface="Century Gothic" panose="020B0502020202020204" pitchFamily="34" charset="0"/>
              </a:endParaRPr>
            </a:p>
          </p:txBody>
        </p:sp>
        <p:grpSp>
          <p:nvGrpSpPr>
            <p:cNvPr id="3" name="Group 22"/>
            <p:cNvGrpSpPr/>
            <p:nvPr/>
          </p:nvGrpSpPr>
          <p:grpSpPr bwMode="auto">
            <a:xfrm>
              <a:off x="105860850" y="109718475"/>
              <a:ext cx="8724798" cy="1685578"/>
              <a:chOff x="105765510" y="107782995"/>
              <a:chExt cx="8724798" cy="1685578"/>
            </a:xfrm>
          </p:grpSpPr>
          <p:pic>
            <p:nvPicPr>
              <p:cNvPr id="5130" name="Picture 23"/>
              <p:cNvPicPr>
                <a:picLocks noChangeAspect="1" noChangeArrowheads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5765510" y="107859195"/>
                <a:ext cx="2145978" cy="123149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131" name="Picture 24"/>
              <p:cNvPicPr>
                <a:picLocks noChangeAspect="1" noChangeArrowheads="1"/>
              </p:cNvPicPr>
              <p:nvPr/>
            </p:nvPicPr>
            <p:blipFill>
              <a:blip r:embed="rId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8842175"/>
                <a:ext cx="6572058" cy="243861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132" name="Picture 25"/>
              <p:cNvPicPr>
                <a:picLocks noChangeAspect="1" noChangeArrowheads="1"/>
              </p:cNvPicPr>
              <p:nvPr/>
            </p:nvPicPr>
            <p:blipFill>
              <a:blip r:embed="rId5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7782995"/>
                <a:ext cx="6400800" cy="33530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133" name="Picture 26"/>
              <p:cNvPicPr>
                <a:picLocks noChangeAspect="1" noChangeArrowheads="1"/>
              </p:cNvPicPr>
              <p:nvPr/>
            </p:nvPicPr>
            <p:blipFill>
              <a:blip r:embed="rId6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8179235"/>
                <a:ext cx="6376969" cy="35969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134" name="Picture 27"/>
              <p:cNvPicPr>
                <a:picLocks noChangeAspect="1" noChangeArrowheads="1"/>
              </p:cNvPicPr>
              <p:nvPr/>
            </p:nvPicPr>
            <p:blipFill>
              <a:blip r:embed="rId7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8575475"/>
                <a:ext cx="6400800" cy="256520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135" name="Picture 28"/>
              <p:cNvPicPr>
                <a:picLocks noChangeAspect="1" noChangeArrowheads="1"/>
              </p:cNvPicPr>
              <p:nvPr/>
            </p:nvPicPr>
            <p:blipFill>
              <a:blip r:embed="rId8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6348530" y="109078395"/>
                <a:ext cx="7480440" cy="390178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</p:grpSp>
      </p:grpSp>
      <p:sp>
        <p:nvSpPr>
          <p:cNvPr id="15" name="Title 1"/>
          <p:cNvSpPr txBox="1"/>
          <p:nvPr/>
        </p:nvSpPr>
        <p:spPr>
          <a:xfrm>
            <a:off x="-98176" y="2687439"/>
            <a:ext cx="8784976" cy="1470025"/>
          </a:xfrm>
          <a:prstGeom prst="rect">
            <a:avLst/>
          </a:prstGeom>
        </p:spPr>
        <p:txBody>
          <a:bodyPr/>
          <a:lstStyle/>
          <a:p>
            <a:pPr marL="484505" algn="ctr" fontAlgn="auto">
              <a:spcAft>
                <a:spcPts val="0"/>
              </a:spcAft>
              <a:defRPr/>
            </a:pPr>
            <a:r>
              <a:rPr lang="en-US" sz="4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glow rad="228600">
                    <a:srgbClr val="000000"/>
                  </a:glow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EMANTAUAN </a:t>
            </a:r>
          </a:p>
          <a:p>
            <a:pPr marL="484505" algn="ctr" fontAlgn="auto">
              <a:spcAft>
                <a:spcPts val="0"/>
              </a:spcAft>
              <a:defRPr/>
            </a:pPr>
            <a:r>
              <a:rPr lang="en-US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glow rad="228600">
                    <a:srgbClr val="000000"/>
                  </a:glow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ROGRAM KOMUNITI PEMBELAJARAN PROFESIONAL </a:t>
            </a:r>
            <a:r>
              <a:rPr lang="en-US" sz="36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glow rad="228600">
                    <a:srgbClr val="000000"/>
                  </a:glow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(PLC)</a:t>
            </a:r>
            <a:endParaRPr lang="en-MY" sz="36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glow rad="228600">
                  <a:srgbClr val="000000"/>
                </a:glow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15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2">
              <a:alphaModFix amt="30000"/>
            </a:blip>
            <a:srcRect/>
            <a:stretch>
              <a:fillRect/>
            </a:stretch>
          </a:blipFill>
          <a:ln w="25400">
            <a:noFill/>
            <a:miter lim="800000"/>
          </a:ln>
        </p:spPr>
        <p:txBody>
          <a:bodyPr anchor="ctr"/>
          <a:lstStyle/>
          <a:p>
            <a:pPr algn="ctr"/>
            <a:endParaRPr lang="ms-MY">
              <a:solidFill>
                <a:srgbClr val="FFFFFF"/>
              </a:solidFill>
              <a:latin typeface="Calibri" panose="020F0502020204030204" charset="0"/>
            </a:endParaRPr>
          </a:p>
        </p:txBody>
      </p:sp>
      <p:sp>
        <p:nvSpPr>
          <p:cNvPr id="6147" name="TextBox 9"/>
          <p:cNvSpPr txBox="1">
            <a:spLocks noChangeArrowheads="1"/>
          </p:cNvSpPr>
          <p:nvPr/>
        </p:nvSpPr>
        <p:spPr bwMode="auto">
          <a:xfrm>
            <a:off x="773113" y="2743200"/>
            <a:ext cx="3189287" cy="1384300"/>
          </a:xfrm>
          <a:prstGeom prst="rect">
            <a:avLst/>
          </a:prstGeom>
          <a:solidFill>
            <a:srgbClr val="FFFF00"/>
          </a:solidFill>
          <a:ln w="38100">
            <a:solidFill>
              <a:schemeClr val="tx1"/>
            </a:solidFill>
            <a:miter lim="800000"/>
          </a:ln>
        </p:spPr>
        <p:txBody>
          <a:bodyPr>
            <a:spAutoFit/>
          </a:bodyPr>
          <a:lstStyle/>
          <a:p>
            <a:pPr algn="ctr"/>
            <a:r>
              <a:rPr lang="en-GB" sz="2800">
                <a:latin typeface="Arial" panose="020B0604020202020204" pitchFamily="34" charset="0"/>
              </a:rPr>
              <a:t>Bagaimana kita memantau perkembangan?</a:t>
            </a:r>
          </a:p>
        </p:txBody>
      </p:sp>
      <p:cxnSp>
        <p:nvCxnSpPr>
          <p:cNvPr id="11" name="Straight Arrow Connector 10"/>
          <p:cNvCxnSpPr>
            <a:cxnSpLocks noChangeShapeType="1"/>
            <a:stCxn id="6147" idx="3"/>
          </p:cNvCxnSpPr>
          <p:nvPr/>
        </p:nvCxnSpPr>
        <p:spPr bwMode="auto">
          <a:xfrm flipV="1">
            <a:off x="3962400" y="3435350"/>
            <a:ext cx="1781175" cy="0"/>
          </a:xfrm>
          <a:prstGeom prst="straightConnector1">
            <a:avLst/>
          </a:prstGeom>
          <a:noFill/>
          <a:ln w="25400">
            <a:solidFill>
              <a:schemeClr val="tx1"/>
            </a:solidFill>
            <a:round/>
            <a:tailEnd type="arrow" w="med" len="med"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</p:cxnSp>
      <p:sp>
        <p:nvSpPr>
          <p:cNvPr id="6149" name="TextBox 11"/>
          <p:cNvSpPr txBox="1">
            <a:spLocks noChangeArrowheads="1"/>
          </p:cNvSpPr>
          <p:nvPr/>
        </p:nvSpPr>
        <p:spPr bwMode="auto">
          <a:xfrm>
            <a:off x="5743575" y="3124200"/>
            <a:ext cx="2684463" cy="523875"/>
          </a:xfrm>
          <a:prstGeom prst="rect">
            <a:avLst/>
          </a:prstGeom>
          <a:solidFill>
            <a:srgbClr val="00FFFF"/>
          </a:solidFill>
          <a:ln w="38100">
            <a:solidFill>
              <a:schemeClr val="tx1"/>
            </a:solidFill>
            <a:miter lim="800000"/>
          </a:ln>
        </p:spPr>
        <p:txBody>
          <a:bodyPr>
            <a:spAutoFit/>
          </a:bodyPr>
          <a:lstStyle/>
          <a:p>
            <a:pPr algn="ctr"/>
            <a:r>
              <a:rPr lang="en-GB" sz="2800">
                <a:latin typeface="Arial" panose="020B0604020202020204" pitchFamily="34" charset="0"/>
              </a:rPr>
              <a:t>Refleksi</a:t>
            </a:r>
          </a:p>
        </p:txBody>
      </p:sp>
      <p:grpSp>
        <p:nvGrpSpPr>
          <p:cNvPr id="2" name="Group 20"/>
          <p:cNvGrpSpPr/>
          <p:nvPr/>
        </p:nvGrpSpPr>
        <p:grpSpPr bwMode="auto">
          <a:xfrm>
            <a:off x="6516688" y="6092825"/>
            <a:ext cx="2376487" cy="576263"/>
            <a:chOff x="105552150" y="109604175"/>
            <a:chExt cx="9109800" cy="1943100"/>
          </a:xfrm>
        </p:grpSpPr>
        <p:sp>
          <p:nvSpPr>
            <p:cNvPr id="6152" name="Rectangle 21"/>
            <p:cNvSpPr>
              <a:spLocks noChangeArrowheads="1"/>
            </p:cNvSpPr>
            <p:nvPr/>
          </p:nvSpPr>
          <p:spPr bwMode="auto">
            <a:xfrm>
              <a:off x="105552150" y="109604175"/>
              <a:ext cx="9109800" cy="194310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</a:ln>
          </p:spPr>
          <p:txBody>
            <a:bodyPr lIns="36576" tIns="36576" rIns="36576" bIns="36576"/>
            <a:lstStyle/>
            <a:p>
              <a:endParaRPr lang="ms-MY">
                <a:latin typeface="Century Gothic" panose="020B0502020202020204" pitchFamily="34" charset="0"/>
              </a:endParaRPr>
            </a:p>
          </p:txBody>
        </p:sp>
        <p:grpSp>
          <p:nvGrpSpPr>
            <p:cNvPr id="3" name="Group 22"/>
            <p:cNvGrpSpPr/>
            <p:nvPr/>
          </p:nvGrpSpPr>
          <p:grpSpPr bwMode="auto">
            <a:xfrm>
              <a:off x="105860850" y="109718475"/>
              <a:ext cx="8724798" cy="1685578"/>
              <a:chOff x="105765510" y="107782995"/>
              <a:chExt cx="8724798" cy="1685578"/>
            </a:xfrm>
          </p:grpSpPr>
          <p:pic>
            <p:nvPicPr>
              <p:cNvPr id="6154" name="Picture 23"/>
              <p:cNvPicPr>
                <a:picLocks noChangeAspect="1" noChangeArrowheads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5765510" y="107859195"/>
                <a:ext cx="2145978" cy="123149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155" name="Picture 24"/>
              <p:cNvPicPr>
                <a:picLocks noChangeAspect="1" noChangeArrowheads="1"/>
              </p:cNvPicPr>
              <p:nvPr/>
            </p:nvPicPr>
            <p:blipFill>
              <a:blip r:embed="rId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8842175"/>
                <a:ext cx="6572058" cy="243861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156" name="Picture 25"/>
              <p:cNvPicPr>
                <a:picLocks noChangeAspect="1" noChangeArrowheads="1"/>
              </p:cNvPicPr>
              <p:nvPr/>
            </p:nvPicPr>
            <p:blipFill>
              <a:blip r:embed="rId5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7782995"/>
                <a:ext cx="6400800" cy="33530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157" name="Picture 26"/>
              <p:cNvPicPr>
                <a:picLocks noChangeAspect="1" noChangeArrowheads="1"/>
              </p:cNvPicPr>
              <p:nvPr/>
            </p:nvPicPr>
            <p:blipFill>
              <a:blip r:embed="rId6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8179235"/>
                <a:ext cx="6376969" cy="35969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158" name="Picture 27"/>
              <p:cNvPicPr>
                <a:picLocks noChangeAspect="1" noChangeArrowheads="1"/>
              </p:cNvPicPr>
              <p:nvPr/>
            </p:nvPicPr>
            <p:blipFill>
              <a:blip r:embed="rId7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8575475"/>
                <a:ext cx="6400800" cy="256520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159" name="Picture 28"/>
              <p:cNvPicPr>
                <a:picLocks noChangeAspect="1" noChangeArrowheads="1"/>
              </p:cNvPicPr>
              <p:nvPr/>
            </p:nvPicPr>
            <p:blipFill>
              <a:blip r:embed="rId8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6348530" y="109078395"/>
                <a:ext cx="7480440" cy="390178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</p:grpSp>
      </p:grpSp>
      <p:sp>
        <p:nvSpPr>
          <p:cNvPr id="15" name="Title 1"/>
          <p:cNvSpPr txBox="1"/>
          <p:nvPr/>
        </p:nvSpPr>
        <p:spPr bwMode="auto">
          <a:xfrm>
            <a:off x="251520" y="267494"/>
            <a:ext cx="8229600" cy="139903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anchor="ctr">
            <a:normAutofit/>
          </a:bodyPr>
          <a:lstStyle/>
          <a:p>
            <a:pPr marL="484505" algn="ctr" fontAlgn="auto">
              <a:spcAft>
                <a:spcPts val="0"/>
              </a:spcAft>
              <a:defRPr/>
            </a:pPr>
            <a:r>
              <a:rPr lang="en-US" sz="4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glow rad="228600">
                    <a:srgbClr val="000000"/>
                  </a:glow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ESI 4 : PEMANTAUAN</a:t>
            </a:r>
            <a:endParaRPr lang="en-MY" sz="44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glow rad="228600">
                  <a:srgbClr val="000000"/>
                </a:glow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16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2">
              <a:alphaModFix amt="30000"/>
            </a:blip>
            <a:srcRect/>
            <a:stretch>
              <a:fillRect/>
            </a:stretch>
          </a:blipFill>
          <a:ln w="25400">
            <a:noFill/>
            <a:miter lim="800000"/>
          </a:ln>
        </p:spPr>
        <p:txBody>
          <a:bodyPr anchor="ctr"/>
          <a:lstStyle/>
          <a:p>
            <a:pPr algn="ctr"/>
            <a:endParaRPr lang="ms-MY">
              <a:solidFill>
                <a:srgbClr val="FFFFFF"/>
              </a:solidFill>
              <a:latin typeface="Calibri" panose="020F0502020204030204" charset="0"/>
            </a:endParaRPr>
          </a:p>
        </p:txBody>
      </p:sp>
      <p:sp>
        <p:nvSpPr>
          <p:cNvPr id="7171" name="Text Box 255"/>
          <p:cNvSpPr txBox="1">
            <a:spLocks noChangeArrowheads="1"/>
          </p:cNvSpPr>
          <p:nvPr/>
        </p:nvSpPr>
        <p:spPr bwMode="gray">
          <a:xfrm>
            <a:off x="2133600" y="4321175"/>
            <a:ext cx="354013" cy="457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en-US" sz="2400" b="1">
                <a:solidFill>
                  <a:srgbClr val="FFFFFF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7172" name="Text Box 258"/>
          <p:cNvSpPr txBox="1">
            <a:spLocks noChangeArrowheads="1"/>
          </p:cNvSpPr>
          <p:nvPr/>
        </p:nvSpPr>
        <p:spPr bwMode="gray">
          <a:xfrm>
            <a:off x="1219200" y="2438400"/>
            <a:ext cx="7162800" cy="23082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eaLnBrk="0" hangingPunct="0"/>
            <a:r>
              <a:rPr lang="en-US" sz="3600">
                <a:latin typeface="Arial" panose="020B0604020202020204" pitchFamily="34" charset="0"/>
              </a:rPr>
              <a:t>MENGENAL PASTI JENIS GARIS PANDUAN PEMANTAUAN BAGI MENJAMIN KUALITI PELAKSANAAN PROGRAM PLC</a:t>
            </a:r>
            <a:endParaRPr lang="en-US" sz="2400">
              <a:latin typeface="Arial" panose="020B0604020202020204" pitchFamily="34" charset="0"/>
            </a:endParaRPr>
          </a:p>
        </p:txBody>
      </p:sp>
      <p:sp>
        <p:nvSpPr>
          <p:cNvPr id="7173" name="Text Box 259"/>
          <p:cNvSpPr txBox="1">
            <a:spLocks noChangeArrowheads="1"/>
          </p:cNvSpPr>
          <p:nvPr/>
        </p:nvSpPr>
        <p:spPr bwMode="gray">
          <a:xfrm>
            <a:off x="2133600" y="1806575"/>
            <a:ext cx="354013" cy="457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en-US" sz="2400" b="1">
                <a:solidFill>
                  <a:srgbClr val="FFFFFF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7174" name="Text Box 268"/>
          <p:cNvSpPr txBox="1">
            <a:spLocks noChangeArrowheads="1"/>
          </p:cNvSpPr>
          <p:nvPr/>
        </p:nvSpPr>
        <p:spPr bwMode="gray">
          <a:xfrm>
            <a:off x="2133600" y="5181600"/>
            <a:ext cx="354013" cy="457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en-US" sz="2400" b="1">
                <a:solidFill>
                  <a:srgbClr val="FFFFFF"/>
                </a:solidFill>
                <a:latin typeface="Arial" panose="020B0604020202020204" pitchFamily="34" charset="0"/>
              </a:rPr>
              <a:t>5</a:t>
            </a:r>
          </a:p>
        </p:txBody>
      </p:sp>
      <p:grpSp>
        <p:nvGrpSpPr>
          <p:cNvPr id="2" name="Group 20"/>
          <p:cNvGrpSpPr/>
          <p:nvPr/>
        </p:nvGrpSpPr>
        <p:grpSpPr bwMode="auto">
          <a:xfrm>
            <a:off x="6516688" y="6092825"/>
            <a:ext cx="2376487" cy="576263"/>
            <a:chOff x="105552150" y="109604175"/>
            <a:chExt cx="9109800" cy="1943100"/>
          </a:xfrm>
        </p:grpSpPr>
        <p:sp>
          <p:nvSpPr>
            <p:cNvPr id="7177" name="Rectangle 21"/>
            <p:cNvSpPr>
              <a:spLocks noChangeArrowheads="1"/>
            </p:cNvSpPr>
            <p:nvPr/>
          </p:nvSpPr>
          <p:spPr bwMode="auto">
            <a:xfrm>
              <a:off x="105552150" y="109604175"/>
              <a:ext cx="9109800" cy="194310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</a:ln>
          </p:spPr>
          <p:txBody>
            <a:bodyPr lIns="36576" tIns="36576" rIns="36576" bIns="36576"/>
            <a:lstStyle/>
            <a:p>
              <a:endParaRPr lang="ms-MY">
                <a:latin typeface="Century Gothic" panose="020B0502020202020204" pitchFamily="34" charset="0"/>
              </a:endParaRPr>
            </a:p>
          </p:txBody>
        </p:sp>
        <p:grpSp>
          <p:nvGrpSpPr>
            <p:cNvPr id="3" name="Group 22"/>
            <p:cNvGrpSpPr/>
            <p:nvPr/>
          </p:nvGrpSpPr>
          <p:grpSpPr bwMode="auto">
            <a:xfrm>
              <a:off x="105860850" y="109718475"/>
              <a:ext cx="8724798" cy="1685578"/>
              <a:chOff x="105765510" y="107782995"/>
              <a:chExt cx="8724798" cy="1685578"/>
            </a:xfrm>
          </p:grpSpPr>
          <p:pic>
            <p:nvPicPr>
              <p:cNvPr id="7179" name="Picture 23"/>
              <p:cNvPicPr>
                <a:picLocks noChangeAspect="1" noChangeArrowheads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5765510" y="107859195"/>
                <a:ext cx="2145978" cy="123149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7180" name="Picture 24"/>
              <p:cNvPicPr>
                <a:picLocks noChangeAspect="1" noChangeArrowheads="1"/>
              </p:cNvPicPr>
              <p:nvPr/>
            </p:nvPicPr>
            <p:blipFill>
              <a:blip r:embed="rId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8842175"/>
                <a:ext cx="6572058" cy="243861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7181" name="Picture 25"/>
              <p:cNvPicPr>
                <a:picLocks noChangeAspect="1" noChangeArrowheads="1"/>
              </p:cNvPicPr>
              <p:nvPr/>
            </p:nvPicPr>
            <p:blipFill>
              <a:blip r:embed="rId5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7782995"/>
                <a:ext cx="6400800" cy="33530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7182" name="Picture 26"/>
              <p:cNvPicPr>
                <a:picLocks noChangeAspect="1" noChangeArrowheads="1"/>
              </p:cNvPicPr>
              <p:nvPr/>
            </p:nvPicPr>
            <p:blipFill>
              <a:blip r:embed="rId6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8179235"/>
                <a:ext cx="6376969" cy="35969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7183" name="Picture 27"/>
              <p:cNvPicPr>
                <a:picLocks noChangeAspect="1" noChangeArrowheads="1"/>
              </p:cNvPicPr>
              <p:nvPr/>
            </p:nvPicPr>
            <p:blipFill>
              <a:blip r:embed="rId7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8575475"/>
                <a:ext cx="6400800" cy="256520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7184" name="Picture 28"/>
              <p:cNvPicPr>
                <a:picLocks noChangeAspect="1" noChangeArrowheads="1"/>
              </p:cNvPicPr>
              <p:nvPr/>
            </p:nvPicPr>
            <p:blipFill>
              <a:blip r:embed="rId8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6348530" y="109078395"/>
                <a:ext cx="7480440" cy="390178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</p:grpSp>
      </p:grpSp>
      <p:sp>
        <p:nvSpPr>
          <p:cNvPr id="16" name="Title 1"/>
          <p:cNvSpPr txBox="1"/>
          <p:nvPr/>
        </p:nvSpPr>
        <p:spPr bwMode="auto">
          <a:xfrm>
            <a:off x="152400" y="228600"/>
            <a:ext cx="8229600" cy="139903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anchor="ctr">
            <a:normAutofit/>
          </a:bodyPr>
          <a:lstStyle/>
          <a:p>
            <a:pPr marL="484505" algn="ctr" fontAlgn="auto">
              <a:spcAft>
                <a:spcPts val="0"/>
              </a:spcAft>
              <a:defRPr/>
            </a:pPr>
            <a:r>
              <a:rPr lang="en-US" sz="4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glow rad="228600">
                    <a:srgbClr val="000000"/>
                  </a:glow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BJEKTIF PEMBELAJARAN</a:t>
            </a:r>
            <a:endParaRPr lang="en-MY" sz="44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glow rad="228600">
                  <a:srgbClr val="000000"/>
                </a:glow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11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2">
              <a:alphaModFix amt="30000"/>
            </a:blip>
            <a:srcRect/>
            <a:stretch>
              <a:fillRect/>
            </a:stretch>
          </a:blipFill>
          <a:ln w="25400">
            <a:noFill/>
            <a:miter lim="800000"/>
          </a:ln>
        </p:spPr>
        <p:txBody>
          <a:bodyPr anchor="ctr"/>
          <a:lstStyle/>
          <a:p>
            <a:pPr algn="ctr"/>
            <a:endParaRPr lang="ms-MY">
              <a:solidFill>
                <a:srgbClr val="FFFFFF"/>
              </a:solidFill>
              <a:latin typeface="Calibri" panose="020F0502020204030204" charset="0"/>
            </a:endParaRPr>
          </a:p>
        </p:txBody>
      </p:sp>
      <p:sp>
        <p:nvSpPr>
          <p:cNvPr id="4" name="Title 1"/>
          <p:cNvSpPr txBox="1"/>
          <p:nvPr/>
        </p:nvSpPr>
        <p:spPr>
          <a:xfrm>
            <a:off x="685800" y="2743200"/>
            <a:ext cx="7772400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Verdana" panose="020B0604030504040204" charset="0"/>
                <a:ea typeface="MS PGothic" panose="020B0600070205080204" pitchFamily="34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Verdana" panose="020B0604030504040204" charset="0"/>
                <a:ea typeface="MS PGothic" panose="020B0600070205080204" pitchFamily="34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Verdana" panose="020B0604030504040204" charset="0"/>
                <a:ea typeface="MS PGothic" panose="020B0600070205080204" pitchFamily="34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Verdana" panose="020B0604030504040204" charset="0"/>
                <a:ea typeface="MS PGothic" panose="020B0600070205080204" pitchFamily="34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Verdana" panose="020B0604030504040204" charset="0"/>
                <a:ea typeface="MS PGothic" panose="020B0600070205080204" pitchFamily="34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Verdana" panose="020B0604030504040204" charset="0"/>
                <a:ea typeface="MS PGothic" panose="020B0600070205080204" pitchFamily="34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Verdana" panose="020B0604030504040204" charset="0"/>
                <a:ea typeface="MS PGothic" panose="020B0600070205080204" pitchFamily="34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Verdana" panose="020B0604030504040204" charset="0"/>
                <a:ea typeface="MS PGothic" panose="020B0600070205080204" pitchFamily="34" charset="-128"/>
              </a:defRPr>
            </a:lvl9pPr>
          </a:lstStyle>
          <a:p>
            <a:pPr algn="ctr">
              <a:defRPr/>
            </a:pPr>
            <a:r>
              <a:rPr lang="en-GB" dirty="0" err="1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glow rad="228600">
                    <a:srgbClr val="000000"/>
                  </a:glow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Bagaimana</a:t>
            </a:r>
            <a:r>
              <a:rPr lang="en-GB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glow rad="228600">
                    <a:srgbClr val="000000"/>
                  </a:glow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 </a:t>
            </a:r>
            <a:r>
              <a:rPr lang="en-GB" dirty="0" err="1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glow rad="228600">
                    <a:srgbClr val="000000"/>
                  </a:glow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kita</a:t>
            </a:r>
            <a:r>
              <a:rPr lang="en-GB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glow rad="228600">
                    <a:srgbClr val="000000"/>
                  </a:glow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 </a:t>
            </a:r>
            <a:r>
              <a:rPr lang="en-GB" dirty="0" err="1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glow rad="228600">
                    <a:srgbClr val="000000"/>
                  </a:glow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memantau</a:t>
            </a:r>
            <a:r>
              <a:rPr lang="en-GB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glow rad="228600">
                    <a:srgbClr val="000000"/>
                  </a:glow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 </a:t>
            </a:r>
            <a:r>
              <a:rPr lang="en-GB" dirty="0" err="1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glow rad="228600">
                    <a:srgbClr val="000000"/>
                  </a:glow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perkembangan</a:t>
            </a:r>
            <a:r>
              <a:rPr lang="en-GB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glow rad="228600">
                    <a:srgbClr val="000000"/>
                  </a:glow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 ?</a:t>
            </a:r>
            <a:endParaRPr lang="en-MY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glow rad="228600">
                  <a:srgbClr val="000000"/>
                </a:glow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Arial Black" panose="020B0A04020102020204" pitchFamily="34" charset="0"/>
            </a:endParaRPr>
          </a:p>
        </p:txBody>
      </p:sp>
      <p:grpSp>
        <p:nvGrpSpPr>
          <p:cNvPr id="2" name="Group 20"/>
          <p:cNvGrpSpPr/>
          <p:nvPr/>
        </p:nvGrpSpPr>
        <p:grpSpPr bwMode="auto">
          <a:xfrm>
            <a:off x="6516688" y="6092825"/>
            <a:ext cx="2376487" cy="576263"/>
            <a:chOff x="105552150" y="109604175"/>
            <a:chExt cx="9109800" cy="1943100"/>
          </a:xfrm>
        </p:grpSpPr>
        <p:sp>
          <p:nvSpPr>
            <p:cNvPr id="8197" name="Rectangle 21"/>
            <p:cNvSpPr>
              <a:spLocks noChangeArrowheads="1"/>
            </p:cNvSpPr>
            <p:nvPr/>
          </p:nvSpPr>
          <p:spPr bwMode="auto">
            <a:xfrm>
              <a:off x="105552150" y="109604175"/>
              <a:ext cx="9109800" cy="194310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</a:ln>
          </p:spPr>
          <p:txBody>
            <a:bodyPr lIns="36576" tIns="36576" rIns="36576" bIns="36576"/>
            <a:lstStyle/>
            <a:p>
              <a:endParaRPr lang="ms-MY">
                <a:latin typeface="Century Gothic" panose="020B0502020202020204" pitchFamily="34" charset="0"/>
              </a:endParaRPr>
            </a:p>
          </p:txBody>
        </p:sp>
        <p:grpSp>
          <p:nvGrpSpPr>
            <p:cNvPr id="3" name="Group 22"/>
            <p:cNvGrpSpPr/>
            <p:nvPr/>
          </p:nvGrpSpPr>
          <p:grpSpPr bwMode="auto">
            <a:xfrm>
              <a:off x="105860850" y="109718475"/>
              <a:ext cx="8724798" cy="1685578"/>
              <a:chOff x="105765510" y="107782995"/>
              <a:chExt cx="8724798" cy="1685578"/>
            </a:xfrm>
          </p:grpSpPr>
          <p:pic>
            <p:nvPicPr>
              <p:cNvPr id="8199" name="Picture 23"/>
              <p:cNvPicPr>
                <a:picLocks noChangeAspect="1" noChangeArrowheads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5765510" y="107859195"/>
                <a:ext cx="2145978" cy="123149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200" name="Picture 24"/>
              <p:cNvPicPr>
                <a:picLocks noChangeAspect="1" noChangeArrowheads="1"/>
              </p:cNvPicPr>
              <p:nvPr/>
            </p:nvPicPr>
            <p:blipFill>
              <a:blip r:embed="rId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8842175"/>
                <a:ext cx="6572058" cy="243861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201" name="Picture 25"/>
              <p:cNvPicPr>
                <a:picLocks noChangeAspect="1" noChangeArrowheads="1"/>
              </p:cNvPicPr>
              <p:nvPr/>
            </p:nvPicPr>
            <p:blipFill>
              <a:blip r:embed="rId5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7782995"/>
                <a:ext cx="6400800" cy="33530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202" name="Picture 26"/>
              <p:cNvPicPr>
                <a:picLocks noChangeAspect="1" noChangeArrowheads="1"/>
              </p:cNvPicPr>
              <p:nvPr/>
            </p:nvPicPr>
            <p:blipFill>
              <a:blip r:embed="rId6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8179235"/>
                <a:ext cx="6376969" cy="35969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203" name="Picture 27"/>
              <p:cNvPicPr>
                <a:picLocks noChangeAspect="1" noChangeArrowheads="1"/>
              </p:cNvPicPr>
              <p:nvPr/>
            </p:nvPicPr>
            <p:blipFill>
              <a:blip r:embed="rId7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8575475"/>
                <a:ext cx="6400800" cy="256520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204" name="Picture 28"/>
              <p:cNvPicPr>
                <a:picLocks noChangeAspect="1" noChangeArrowheads="1"/>
              </p:cNvPicPr>
              <p:nvPr/>
            </p:nvPicPr>
            <p:blipFill>
              <a:blip r:embed="rId8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6348530" y="109078395"/>
                <a:ext cx="7480440" cy="390178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 descr="Professional Learning Community (PLC) merujuk&#10;kepada para pendidik yang komited dan bekerja&#10;secara kolaboratif serta berte..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6629" y="0"/>
            <a:ext cx="754737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KOMUNITI PEMBELAJARAN PROFESIONAL: MODUS OPERANDIKEMENTERIAN PELAJARANM A L AY S I A            1   Utama Slaid Sebelum Sl...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603"/>
          <a:stretch>
            <a:fillRect/>
          </a:stretch>
        </p:blipFill>
        <p:spPr bwMode="auto">
          <a:xfrm>
            <a:off x="0" y="0"/>
            <a:ext cx="159662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12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2">
              <a:alphaModFix amt="30000"/>
            </a:blip>
            <a:srcRect/>
            <a:stretch>
              <a:fillRect/>
            </a:stretch>
          </a:blipFill>
          <a:ln w="25400">
            <a:noFill/>
            <a:miter lim="800000"/>
          </a:ln>
        </p:spPr>
        <p:txBody>
          <a:bodyPr anchor="ctr"/>
          <a:lstStyle/>
          <a:p>
            <a:pPr algn="ctr"/>
            <a:endParaRPr lang="ms-MY">
              <a:solidFill>
                <a:srgbClr val="FFFFFF"/>
              </a:solidFill>
              <a:latin typeface="Calibri" panose="020F0502020204030204" charset="0"/>
            </a:endParaRPr>
          </a:p>
        </p:txBody>
      </p:sp>
      <p:sp>
        <p:nvSpPr>
          <p:cNvPr id="4" name="Title 1"/>
          <p:cNvSpPr txBox="1"/>
          <p:nvPr/>
        </p:nvSpPr>
        <p:spPr>
          <a:xfrm>
            <a:off x="1905000" y="1295400"/>
            <a:ext cx="6749544" cy="11430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Verdana" panose="020B0604030504040204" charset="0"/>
                <a:ea typeface="MS PGothic" panose="020B0600070205080204" pitchFamily="34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Verdana" panose="020B0604030504040204" charset="0"/>
                <a:ea typeface="MS PGothic" panose="020B0600070205080204" pitchFamily="34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Verdana" panose="020B0604030504040204" charset="0"/>
                <a:ea typeface="MS PGothic" panose="020B0600070205080204" pitchFamily="34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Verdana" panose="020B0604030504040204" charset="0"/>
                <a:ea typeface="MS PGothic" panose="020B0600070205080204" pitchFamily="34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Verdana" panose="020B0604030504040204" charset="0"/>
                <a:ea typeface="MS PGothic" panose="020B0600070205080204" pitchFamily="34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Verdana" panose="020B0604030504040204" charset="0"/>
                <a:ea typeface="MS PGothic" panose="020B0600070205080204" pitchFamily="34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Verdana" panose="020B0604030504040204" charset="0"/>
                <a:ea typeface="MS PGothic" panose="020B0600070205080204" pitchFamily="34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Verdana" panose="020B060403050404020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r>
              <a:rPr lang="en-US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glow rad="228600">
                    <a:srgbClr val="000000"/>
                  </a:glow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ASPEK PEMANTAUAN</a:t>
            </a:r>
            <a:endParaRPr lang="en-US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glow rad="228600">
                  <a:srgbClr val="000000"/>
                </a:glow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20" name="Content Placeholder 2"/>
          <p:cNvSpPr txBox="1"/>
          <p:nvPr/>
        </p:nvSpPr>
        <p:spPr bwMode="auto">
          <a:xfrm>
            <a:off x="2057400" y="2286000"/>
            <a:ext cx="5181600" cy="36576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v"/>
            </a:pPr>
            <a:r>
              <a:rPr lang="en-US" sz="2400">
                <a:latin typeface="Arial" panose="020B0604020202020204" pitchFamily="34" charset="0"/>
              </a:rPr>
              <a:t>KEPIMPINAN</a:t>
            </a:r>
          </a:p>
          <a:p>
            <a:pPr marL="342900" indent="-3429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v"/>
            </a:pPr>
            <a:r>
              <a:rPr lang="en-US" sz="2400">
                <a:latin typeface="Arial" panose="020B0604020202020204" pitchFamily="34" charset="0"/>
              </a:rPr>
              <a:t>PELAKSANAAN</a:t>
            </a:r>
          </a:p>
          <a:p>
            <a:pPr marL="342900" indent="-3429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v"/>
            </a:pPr>
            <a:r>
              <a:rPr lang="en-US" sz="2400">
                <a:latin typeface="Arial" panose="020B0604020202020204" pitchFamily="34" charset="0"/>
              </a:rPr>
              <a:t>LATIHAN &amp; PEMBANGUNAN</a:t>
            </a:r>
          </a:p>
          <a:p>
            <a:pPr marL="342900" indent="-3429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v"/>
            </a:pPr>
            <a:r>
              <a:rPr lang="en-US" sz="2400">
                <a:latin typeface="Arial" panose="020B0604020202020204" pitchFamily="34" charset="0"/>
              </a:rPr>
              <a:t>PENTAKSIRAN</a:t>
            </a:r>
          </a:p>
          <a:p>
            <a:pPr marL="342900" indent="-3429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v"/>
            </a:pPr>
            <a:r>
              <a:rPr lang="en-US" sz="2400">
                <a:latin typeface="Arial" panose="020B0604020202020204" pitchFamily="34" charset="0"/>
              </a:rPr>
              <a:t>OUTCOME</a:t>
            </a:r>
          </a:p>
          <a:p>
            <a:pPr marL="342900" indent="-3429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v"/>
            </a:pPr>
            <a:r>
              <a:rPr lang="en-US" sz="2400">
                <a:latin typeface="Arial" panose="020B0604020202020204" pitchFamily="34" charset="0"/>
              </a:rPr>
              <a:t>PENILAIAN PROGRAM</a:t>
            </a:r>
          </a:p>
          <a:p>
            <a:pPr marL="342900" indent="-342900">
              <a:spcBef>
                <a:spcPct val="20000"/>
              </a:spcBef>
              <a:buClr>
                <a:schemeClr val="folHlink"/>
              </a:buClr>
              <a:buFont typeface="Wingdings" panose="05000000000000000000" pitchFamily="2" charset="2"/>
              <a:buChar char="v"/>
            </a:pPr>
            <a:r>
              <a:rPr lang="en-US" sz="2400">
                <a:latin typeface="Arial" panose="020B0604020202020204" pitchFamily="34" charset="0"/>
              </a:rPr>
              <a:t>SUASANA MENYOKONG</a:t>
            </a:r>
          </a:p>
        </p:txBody>
      </p:sp>
      <p:grpSp>
        <p:nvGrpSpPr>
          <p:cNvPr id="2" name="Group 20"/>
          <p:cNvGrpSpPr/>
          <p:nvPr/>
        </p:nvGrpSpPr>
        <p:grpSpPr bwMode="auto">
          <a:xfrm>
            <a:off x="6516688" y="6092825"/>
            <a:ext cx="2376487" cy="576263"/>
            <a:chOff x="105552150" y="109604175"/>
            <a:chExt cx="9109800" cy="1943100"/>
          </a:xfrm>
        </p:grpSpPr>
        <p:sp>
          <p:nvSpPr>
            <p:cNvPr id="9222" name="Rectangle 21"/>
            <p:cNvSpPr>
              <a:spLocks noChangeArrowheads="1"/>
            </p:cNvSpPr>
            <p:nvPr/>
          </p:nvSpPr>
          <p:spPr bwMode="auto">
            <a:xfrm>
              <a:off x="105552150" y="109604175"/>
              <a:ext cx="9109800" cy="194310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</a:ln>
          </p:spPr>
          <p:txBody>
            <a:bodyPr lIns="36576" tIns="36576" rIns="36576" bIns="36576"/>
            <a:lstStyle/>
            <a:p>
              <a:endParaRPr lang="ms-MY">
                <a:latin typeface="Century Gothic" panose="020B0502020202020204" pitchFamily="34" charset="0"/>
              </a:endParaRPr>
            </a:p>
          </p:txBody>
        </p:sp>
        <p:grpSp>
          <p:nvGrpSpPr>
            <p:cNvPr id="3" name="Group 22"/>
            <p:cNvGrpSpPr/>
            <p:nvPr/>
          </p:nvGrpSpPr>
          <p:grpSpPr bwMode="auto">
            <a:xfrm>
              <a:off x="105860850" y="109718475"/>
              <a:ext cx="8724798" cy="1685578"/>
              <a:chOff x="105765510" y="107782995"/>
              <a:chExt cx="8724798" cy="1685578"/>
            </a:xfrm>
          </p:grpSpPr>
          <p:pic>
            <p:nvPicPr>
              <p:cNvPr id="9224" name="Picture 23"/>
              <p:cNvPicPr>
                <a:picLocks noChangeAspect="1" noChangeArrowheads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5765510" y="107859195"/>
                <a:ext cx="2145978" cy="123149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225" name="Picture 24"/>
              <p:cNvPicPr>
                <a:picLocks noChangeAspect="1" noChangeArrowheads="1"/>
              </p:cNvPicPr>
              <p:nvPr/>
            </p:nvPicPr>
            <p:blipFill>
              <a:blip r:embed="rId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8842175"/>
                <a:ext cx="6572058" cy="243861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226" name="Picture 25"/>
              <p:cNvPicPr>
                <a:picLocks noChangeAspect="1" noChangeArrowheads="1"/>
              </p:cNvPicPr>
              <p:nvPr/>
            </p:nvPicPr>
            <p:blipFill>
              <a:blip r:embed="rId5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7782995"/>
                <a:ext cx="6400800" cy="33530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227" name="Picture 26"/>
              <p:cNvPicPr>
                <a:picLocks noChangeAspect="1" noChangeArrowheads="1"/>
              </p:cNvPicPr>
              <p:nvPr/>
            </p:nvPicPr>
            <p:blipFill>
              <a:blip r:embed="rId6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8179235"/>
                <a:ext cx="6376969" cy="35969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228" name="Picture 27"/>
              <p:cNvPicPr>
                <a:picLocks noChangeAspect="1" noChangeArrowheads="1"/>
              </p:cNvPicPr>
              <p:nvPr/>
            </p:nvPicPr>
            <p:blipFill>
              <a:blip r:embed="rId7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8575475"/>
                <a:ext cx="6400800" cy="256520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229" name="Picture 28"/>
              <p:cNvPicPr>
                <a:picLocks noChangeAspect="1" noChangeArrowheads="1"/>
              </p:cNvPicPr>
              <p:nvPr/>
            </p:nvPicPr>
            <p:blipFill>
              <a:blip r:embed="rId8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6348530" y="109078395"/>
                <a:ext cx="7480440" cy="390178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12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3">
              <a:alphaModFix amt="30000"/>
            </a:blip>
            <a:srcRect/>
            <a:stretch>
              <a:fillRect/>
            </a:stretch>
          </a:blipFill>
          <a:ln w="25400">
            <a:noFill/>
            <a:miter lim="800000"/>
          </a:ln>
        </p:spPr>
        <p:txBody>
          <a:bodyPr anchor="ctr"/>
          <a:lstStyle/>
          <a:p>
            <a:pPr algn="ctr"/>
            <a:endParaRPr lang="ms-MY">
              <a:solidFill>
                <a:srgbClr val="FFFFFF"/>
              </a:solidFill>
              <a:latin typeface="Calibri" panose="020F0502020204030204" charset="0"/>
            </a:endParaRPr>
          </a:p>
        </p:txBody>
      </p:sp>
      <p:sp>
        <p:nvSpPr>
          <p:cNvPr id="4" name="Title 1"/>
          <p:cNvSpPr txBox="1"/>
          <p:nvPr/>
        </p:nvSpPr>
        <p:spPr>
          <a:xfrm>
            <a:off x="1219200" y="914400"/>
            <a:ext cx="6705600" cy="7620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Verdana" panose="020B0604030504040204" charset="0"/>
                <a:ea typeface="MS PGothic" panose="020B0600070205080204" pitchFamily="34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Verdana" panose="020B0604030504040204" charset="0"/>
                <a:ea typeface="MS PGothic" panose="020B0600070205080204" pitchFamily="34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Verdana" panose="020B0604030504040204" charset="0"/>
                <a:ea typeface="MS PGothic" panose="020B0600070205080204" pitchFamily="34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Verdana" panose="020B0604030504040204" charset="0"/>
                <a:ea typeface="MS PGothic" panose="020B0600070205080204" pitchFamily="34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Verdana" panose="020B0604030504040204" charset="0"/>
                <a:ea typeface="MS PGothic" panose="020B0600070205080204" pitchFamily="34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Verdana" panose="020B0604030504040204" charset="0"/>
                <a:ea typeface="MS PGothic" panose="020B0600070205080204" pitchFamily="34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Verdana" panose="020B0604030504040204" charset="0"/>
                <a:ea typeface="MS PGothic" panose="020B0600070205080204" pitchFamily="34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Verdana" panose="020B060403050404020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r>
              <a:rPr lang="en-US" sz="44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glow rad="228600">
                    <a:srgbClr val="000000"/>
                  </a:glow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RUBRIK PEMANTAUAN</a:t>
            </a:r>
            <a:endParaRPr lang="en-US" sz="44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glow rad="228600">
                  <a:srgbClr val="000000"/>
                </a:glow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44" name="Content Placeholder 2"/>
          <p:cNvSpPr txBox="1"/>
          <p:nvPr/>
        </p:nvSpPr>
        <p:spPr bwMode="auto">
          <a:xfrm>
            <a:off x="1219200" y="1828800"/>
            <a:ext cx="7315200" cy="345916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/>
          <a:lstStyle/>
          <a:p>
            <a:pPr>
              <a:lnSpc>
                <a:spcPct val="115000"/>
              </a:lnSpc>
              <a:spcAft>
                <a:spcPts val="1000"/>
              </a:spcAft>
              <a:buClr>
                <a:schemeClr val="folHlink"/>
              </a:buClr>
              <a:buFont typeface="Wingdings" panose="05000000000000000000" pitchFamily="2" charset="2"/>
              <a:buNone/>
            </a:pPr>
            <a:r>
              <a:rPr lang="ms-MY" sz="2800" b="1">
                <a:latin typeface="Arial" panose="020B0604020202020204" pitchFamily="34" charset="0"/>
              </a:rPr>
              <a:t>Sekolah menunjukkan kemajuan di peringkat berikut: </a:t>
            </a:r>
          </a:p>
          <a:p>
            <a:pPr>
              <a:lnSpc>
                <a:spcPct val="115000"/>
              </a:lnSpc>
              <a:spcAft>
                <a:spcPts val="1000"/>
              </a:spcAft>
              <a:buClr>
                <a:schemeClr val="folHlink"/>
              </a:buClr>
              <a:buFont typeface="Wingdings" panose="05000000000000000000" pitchFamily="2" charset="2"/>
              <a:buNone/>
            </a:pPr>
            <a:r>
              <a:rPr lang="ms-MY" sz="2400" b="1">
                <a:latin typeface="Arial" panose="020B0604020202020204" pitchFamily="34" charset="0"/>
              </a:rPr>
              <a:t>1. Secara meluas dan  kreatif</a:t>
            </a:r>
          </a:p>
          <a:p>
            <a:pPr>
              <a:lnSpc>
                <a:spcPct val="115000"/>
              </a:lnSpc>
              <a:spcAft>
                <a:spcPts val="1000"/>
              </a:spcAft>
              <a:buClr>
                <a:schemeClr val="folHlink"/>
              </a:buClr>
              <a:buFont typeface="Wingdings" panose="05000000000000000000" pitchFamily="2" charset="2"/>
              <a:buNone/>
            </a:pPr>
            <a:r>
              <a:rPr lang="ms-MY" sz="2400" b="1">
                <a:latin typeface="Arial" panose="020B0604020202020204" pitchFamily="34" charset="0"/>
              </a:rPr>
              <a:t>2. Secara terancang dan berterusan</a:t>
            </a:r>
          </a:p>
          <a:p>
            <a:pPr>
              <a:lnSpc>
                <a:spcPct val="115000"/>
              </a:lnSpc>
              <a:spcAft>
                <a:spcPts val="1000"/>
              </a:spcAft>
              <a:buClr>
                <a:schemeClr val="folHlink"/>
              </a:buClr>
              <a:buFont typeface="Wingdings" panose="05000000000000000000" pitchFamily="2" charset="2"/>
              <a:buNone/>
            </a:pPr>
            <a:r>
              <a:rPr lang="ms-MY" sz="2400" b="1">
                <a:latin typeface="Arial" panose="020B0604020202020204" pitchFamily="34" charset="0"/>
              </a:rPr>
              <a:t>3. Kadar yang sesuai tetapi memerlukan    </a:t>
            </a:r>
          </a:p>
          <a:p>
            <a:pPr>
              <a:lnSpc>
                <a:spcPct val="115000"/>
              </a:lnSpc>
              <a:spcAft>
                <a:spcPts val="1000"/>
              </a:spcAft>
              <a:buClr>
                <a:schemeClr val="folHlink"/>
              </a:buClr>
              <a:buFont typeface="Wingdings" panose="05000000000000000000" pitchFamily="2" charset="2"/>
              <a:buNone/>
            </a:pPr>
            <a:r>
              <a:rPr lang="ms-MY" sz="2400" b="1">
                <a:latin typeface="Arial" panose="020B0604020202020204" pitchFamily="34" charset="0"/>
              </a:rPr>
              <a:t>    sokongan selanjutnya</a:t>
            </a:r>
          </a:p>
          <a:p>
            <a:pPr>
              <a:lnSpc>
                <a:spcPct val="115000"/>
              </a:lnSpc>
              <a:spcAft>
                <a:spcPts val="1000"/>
              </a:spcAft>
              <a:buClr>
                <a:schemeClr val="folHlink"/>
              </a:buClr>
              <a:buFont typeface="Wingdings" panose="05000000000000000000" pitchFamily="2" charset="2"/>
              <a:buNone/>
            </a:pPr>
            <a:r>
              <a:rPr lang="ms-MY" sz="2400" b="1">
                <a:latin typeface="Arial" panose="020B0604020202020204" pitchFamily="34" charset="0"/>
              </a:rPr>
              <a:t>4. Memerlukan lebih banyak sokongan dan   </a:t>
            </a:r>
          </a:p>
          <a:p>
            <a:pPr>
              <a:lnSpc>
                <a:spcPct val="115000"/>
              </a:lnSpc>
              <a:spcAft>
                <a:spcPts val="1000"/>
              </a:spcAft>
              <a:buClr>
                <a:schemeClr val="folHlink"/>
              </a:buClr>
              <a:buFont typeface="Wingdings" panose="05000000000000000000" pitchFamily="2" charset="2"/>
              <a:buNone/>
            </a:pPr>
            <a:r>
              <a:rPr lang="ms-MY" sz="2400" b="1">
                <a:latin typeface="Arial" panose="020B0604020202020204" pitchFamily="34" charset="0"/>
              </a:rPr>
              <a:t>    nasihat</a:t>
            </a:r>
            <a:endParaRPr lang="en-US" sz="2400">
              <a:latin typeface="Arial" panose="020B0604020202020204" pitchFamily="34" charset="0"/>
            </a:endParaRPr>
          </a:p>
        </p:txBody>
      </p:sp>
      <p:grpSp>
        <p:nvGrpSpPr>
          <p:cNvPr id="2" name="Group 20"/>
          <p:cNvGrpSpPr/>
          <p:nvPr/>
        </p:nvGrpSpPr>
        <p:grpSpPr bwMode="auto">
          <a:xfrm>
            <a:off x="6516688" y="6092825"/>
            <a:ext cx="2376487" cy="576263"/>
            <a:chOff x="105552150" y="109604175"/>
            <a:chExt cx="9109800" cy="1943100"/>
          </a:xfrm>
        </p:grpSpPr>
        <p:sp>
          <p:nvSpPr>
            <p:cNvPr id="10246" name="Rectangle 21"/>
            <p:cNvSpPr>
              <a:spLocks noChangeArrowheads="1"/>
            </p:cNvSpPr>
            <p:nvPr/>
          </p:nvSpPr>
          <p:spPr bwMode="auto">
            <a:xfrm>
              <a:off x="105552150" y="109604175"/>
              <a:ext cx="9109800" cy="194310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</a:ln>
          </p:spPr>
          <p:txBody>
            <a:bodyPr lIns="36576" tIns="36576" rIns="36576" bIns="36576"/>
            <a:lstStyle/>
            <a:p>
              <a:endParaRPr lang="ms-MY">
                <a:latin typeface="Century Gothic" panose="020B0502020202020204" pitchFamily="34" charset="0"/>
              </a:endParaRPr>
            </a:p>
          </p:txBody>
        </p:sp>
        <p:grpSp>
          <p:nvGrpSpPr>
            <p:cNvPr id="3" name="Group 22"/>
            <p:cNvGrpSpPr/>
            <p:nvPr/>
          </p:nvGrpSpPr>
          <p:grpSpPr bwMode="auto">
            <a:xfrm>
              <a:off x="105860850" y="109718475"/>
              <a:ext cx="8724798" cy="1685578"/>
              <a:chOff x="105765510" y="107782995"/>
              <a:chExt cx="8724798" cy="1685578"/>
            </a:xfrm>
          </p:grpSpPr>
          <p:pic>
            <p:nvPicPr>
              <p:cNvPr id="10248" name="Picture 23"/>
              <p:cNvPicPr>
                <a:picLocks noChangeAspect="1" noChangeArrowheads="1"/>
              </p:cNvPicPr>
              <p:nvPr/>
            </p:nvPicPr>
            <p:blipFill>
              <a:blip r:embed="rId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5765510" y="107859195"/>
                <a:ext cx="2145978" cy="123149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249" name="Picture 24"/>
              <p:cNvPicPr>
                <a:picLocks noChangeAspect="1" noChangeArrowheads="1"/>
              </p:cNvPicPr>
              <p:nvPr/>
            </p:nvPicPr>
            <p:blipFill>
              <a:blip r:embed="rId5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8842175"/>
                <a:ext cx="6572058" cy="243861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250" name="Picture 25"/>
              <p:cNvPicPr>
                <a:picLocks noChangeAspect="1" noChangeArrowheads="1"/>
              </p:cNvPicPr>
              <p:nvPr/>
            </p:nvPicPr>
            <p:blipFill>
              <a:blip r:embed="rId6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7782995"/>
                <a:ext cx="6400800" cy="33530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251" name="Picture 26"/>
              <p:cNvPicPr>
                <a:picLocks noChangeAspect="1" noChangeArrowheads="1"/>
              </p:cNvPicPr>
              <p:nvPr/>
            </p:nvPicPr>
            <p:blipFill>
              <a:blip r:embed="rId7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8179235"/>
                <a:ext cx="6376969" cy="35969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252" name="Picture 27"/>
              <p:cNvPicPr>
                <a:picLocks noChangeAspect="1" noChangeArrowheads="1"/>
              </p:cNvPicPr>
              <p:nvPr/>
            </p:nvPicPr>
            <p:blipFill>
              <a:blip r:embed="rId8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7918250" y="108575475"/>
                <a:ext cx="6400800" cy="256520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253" name="Picture 28"/>
              <p:cNvPicPr>
                <a:picLocks noChangeAspect="1" noChangeArrowheads="1"/>
              </p:cNvPicPr>
              <p:nvPr/>
            </p:nvPicPr>
            <p:blipFill>
              <a:blip r:embed="rId9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06348530" y="109078395"/>
                <a:ext cx="7480440" cy="390178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245"/>
          <p:cNvSpPr txBox="1">
            <a:spLocks noGrp="1"/>
          </p:cNvSpPr>
          <p:nvPr>
            <p:ph sz="quarter" idx="13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 Black" panose="020B0A04020102020204"/>
              <a:buNone/>
            </a:pPr>
            <a:r>
              <a:rPr lang="en-GB" sz="3600" b="0" i="0" u="none" strike="noStrike" cap="none" dirty="0">
                <a:solidFill>
                  <a:schemeClr val="dk1"/>
                </a:solidFill>
                <a:latin typeface="Arial Black" panose="020B0A04020102020204"/>
                <a:ea typeface="Arial Black" panose="020B0A04020102020204"/>
                <a:cs typeface="Arial Black" panose="020B0A04020102020204"/>
                <a:sym typeface="Arial Black" panose="020B0A04020102020204"/>
              </a:rPr>
              <a:t>Dasar PPB KPM</a:t>
            </a:r>
            <a:endParaRPr dirty="0"/>
          </a:p>
        </p:txBody>
      </p:sp>
      <p:sp>
        <p:nvSpPr>
          <p:cNvPr id="6" name="Shape 247"/>
          <p:cNvSpPr txBox="1"/>
          <p:nvPr/>
        </p:nvSpPr>
        <p:spPr>
          <a:xfrm>
            <a:off x="1331640" y="1340768"/>
            <a:ext cx="6480720" cy="992579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b="1" dirty="0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Surat Siaran KPM: Pelaksanaan PLC di sekolah </a:t>
            </a:r>
            <a:endParaRPr dirty="0"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b="1" dirty="0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Tarikh: 3 Disember 2015</a:t>
            </a:r>
            <a:endParaRPr dirty="0"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b="1" dirty="0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No Ruj: KP(BPG)9094/600/3/5 Jld. 5 (95)</a:t>
            </a:r>
            <a:endParaRPr dirty="0"/>
          </a:p>
        </p:txBody>
      </p:sp>
      <p:pic>
        <p:nvPicPr>
          <p:cNvPr id="7" name="Shape 246"/>
          <p:cNvPicPr preferRelativeResize="0"/>
          <p:nvPr/>
        </p:nvPicPr>
        <p:blipFill rotWithShape="1">
          <a:blip r:embed="rId2"/>
          <a:srcRect l="1076" t="2939"/>
          <a:stretch>
            <a:fillRect/>
          </a:stretch>
        </p:blipFill>
        <p:spPr>
          <a:xfrm>
            <a:off x="2280405" y="2708920"/>
            <a:ext cx="4583190" cy="33749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25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pe 254"/>
          <p:cNvPicPr preferRelativeResize="0">
            <a:picLocks noGrp="1"/>
          </p:cNvPicPr>
          <p:nvPr>
            <p:ph sz="quarter" idx="13"/>
          </p:nvPr>
        </p:nvPicPr>
        <p:blipFill rotWithShape="1">
          <a:blip r:embed="rId2"/>
          <a:srcRect l="9933" t="36545" r="59873" b="7244"/>
          <a:stretch>
            <a:fillRect/>
          </a:stretch>
        </p:blipFill>
        <p:spPr>
          <a:xfrm>
            <a:off x="810260" y="1196975"/>
            <a:ext cx="7898130" cy="504063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Shape 253"/>
          <p:cNvSpPr txBox="1"/>
          <p:nvPr/>
        </p:nvSpPr>
        <p:spPr>
          <a:xfrm>
            <a:off x="1979712" y="404664"/>
            <a:ext cx="4824536" cy="1120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22860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anose="02040502050405020303" pitchFamily="18" charset="0"/>
              <a:buChar char="*"/>
              <a:defRPr sz="2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anose="02040502050405020303" pitchFamily="18" charset="0"/>
              <a:buChar char="*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2296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anose="02040502050405020303" pitchFamily="18" charset="0"/>
              <a:buChar char="*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9728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anose="02040502050405020303" pitchFamily="18" charset="0"/>
              <a:buChar char="*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90015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anose="02040502050405020303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664335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anose="02040502050405020303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96596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anose="02040502050405020303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28600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anose="02040502050405020303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587625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anose="02040502050405020303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 panose="020B0604020202020204"/>
              <a:buNone/>
            </a:pPr>
            <a:r>
              <a:rPr lang="en-MY" sz="4400" b="1" dirty="0" err="1" smtClean="0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Aktiviti</a:t>
            </a:r>
            <a:r>
              <a:rPr lang="en-MY" sz="4400" b="1" dirty="0" smtClean="0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 </a:t>
            </a:r>
            <a:r>
              <a:rPr lang="en-MY" sz="4400" b="1" dirty="0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P</a:t>
            </a:r>
            <a:r>
              <a:rPr lang="en-MY" sz="4400" b="1" dirty="0" smtClean="0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PB</a:t>
            </a:r>
            <a:endParaRPr lang="en-MY" dirty="0"/>
          </a:p>
        </p:txBody>
      </p:sp>
      <p:grpSp>
        <p:nvGrpSpPr>
          <p:cNvPr id="6" name="Shape 256"/>
          <p:cNvGrpSpPr/>
          <p:nvPr/>
        </p:nvGrpSpPr>
        <p:grpSpPr>
          <a:xfrm>
            <a:off x="934510" y="2110022"/>
            <a:ext cx="2090404" cy="1357973"/>
            <a:chOff x="54278" y="857007"/>
            <a:chExt cx="2090404" cy="1810631"/>
          </a:xfrm>
        </p:grpSpPr>
        <p:pic>
          <p:nvPicPr>
            <p:cNvPr id="7" name="Shape 257"/>
            <p:cNvPicPr preferRelativeResize="0"/>
            <p:nvPr/>
          </p:nvPicPr>
          <p:blipFill rotWithShape="1">
            <a:blip r:embed="rId3"/>
            <a:srcRect l="2894" t="24483" r="58258" b="55424"/>
            <a:stretch>
              <a:fillRect/>
            </a:stretch>
          </p:blipFill>
          <p:spPr>
            <a:xfrm>
              <a:off x="678525" y="1391732"/>
              <a:ext cx="1466157" cy="1275906"/>
            </a:xfrm>
            <a:prstGeom prst="ellipse">
              <a:avLst/>
            </a:prstGeom>
            <a:noFill/>
            <a:ln>
              <a:noFill/>
            </a:ln>
          </p:spPr>
        </p:pic>
        <p:pic>
          <p:nvPicPr>
            <p:cNvPr id="8" name="Shape 258"/>
            <p:cNvPicPr preferRelativeResize="0"/>
            <p:nvPr/>
          </p:nvPicPr>
          <p:blipFill rotWithShape="1">
            <a:blip r:embed="rId4"/>
            <a:srcRect l="46316" t="18567" r="43637" b="54549"/>
            <a:stretch>
              <a:fillRect/>
            </a:stretch>
          </p:blipFill>
          <p:spPr>
            <a:xfrm rot="7741579">
              <a:off x="433701" y="477584"/>
              <a:ext cx="452792" cy="1211637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" name="TextBox 8"/>
          <p:cNvSpPr txBox="1"/>
          <p:nvPr/>
        </p:nvSpPr>
        <p:spPr>
          <a:xfrm>
            <a:off x="5148064" y="6093296"/>
            <a:ext cx="2592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KPM 2014:32</a:t>
            </a:r>
            <a:endParaRPr lang="en-MY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Shape 264"/>
          <p:cNvGraphicFramePr/>
          <p:nvPr/>
        </p:nvGraphicFramePr>
        <p:xfrm>
          <a:off x="323528" y="908724"/>
          <a:ext cx="8667550" cy="5400598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1144825"/>
                <a:gridCol w="5983967"/>
                <a:gridCol w="1538758"/>
              </a:tblGrid>
              <a:tr h="660476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 b="1" u="none" strike="noStrike" cap="none" dirty="0">
                          <a:solidFill>
                            <a:srgbClr val="FF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Kod PPB</a:t>
                      </a:r>
                      <a:endParaRPr sz="1600" b="1" dirty="0">
                        <a:solidFill>
                          <a:srgbClr val="FF0000"/>
                        </a:solidFill>
                      </a:endParaRPr>
                    </a:p>
                  </a:txBody>
                  <a:tcPr marL="68575" marR="68575" marT="25725" marB="25725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 b="1" u="none" strike="noStrike" cap="none" dirty="0">
                          <a:solidFill>
                            <a:srgbClr val="FF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Aktiviti PPB</a:t>
                      </a:r>
                      <a:endParaRPr sz="1600" b="1" dirty="0">
                        <a:solidFill>
                          <a:srgbClr val="FF0000"/>
                        </a:solidFill>
                      </a:endParaRPr>
                    </a:p>
                  </a:txBody>
                  <a:tcPr marL="68575" marR="68575" marT="25725" marB="25725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 b="1" u="none" strike="noStrike" cap="none" dirty="0">
                          <a:solidFill>
                            <a:srgbClr val="FF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Maksimum Mata Kredit</a:t>
                      </a:r>
                      <a:endParaRPr sz="1600" b="1" u="none" strike="noStrike" cap="none" dirty="0">
                        <a:solidFill>
                          <a:srgbClr val="FF0000"/>
                        </a:solidFill>
                        <a:latin typeface="Arial" panose="020B0604020202020204"/>
                        <a:ea typeface="Arial" panose="020B0604020202020204"/>
                        <a:cs typeface="Arial" panose="020B0604020202020204"/>
                        <a:sym typeface="Arial" panose="020B0604020202020204"/>
                      </a:endParaRPr>
                    </a:p>
                  </a:txBody>
                  <a:tcPr marL="68575" marR="68575" marT="25725" marB="25725" anchor="ctr"/>
                </a:tc>
              </a:tr>
              <a:tr h="585795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u="none" strike="noStrike" cap="none" dirty="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01</a:t>
                      </a:r>
                      <a:endParaRPr sz="1100" dirty="0"/>
                    </a:p>
                  </a:txBody>
                  <a:tcPr marL="68575" marR="68575" marT="25725" marB="2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u="none" strike="noStrike" cap="none" dirty="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Kursus/Bengkel/Seminar/Kolokium/Konvensyen/Simposium/Forum/Konferens/Klinik Kaunseling</a:t>
                      </a:r>
                      <a:endParaRPr sz="1400" dirty="0">
                        <a:solidFill>
                          <a:srgbClr val="000000"/>
                        </a:solidFill>
                        <a:latin typeface="Arial" panose="020B0604020202020204"/>
                        <a:ea typeface="Arial" panose="020B0604020202020204"/>
                        <a:cs typeface="Arial" panose="020B0604020202020204"/>
                        <a:sym typeface="Arial" panose="020B0604020202020204"/>
                      </a:endParaRPr>
                    </a:p>
                  </a:txBody>
                  <a:tcPr marL="68575" marR="68575" marT="25725" marB="2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15</a:t>
                      </a:r>
                      <a:endParaRPr sz="1100"/>
                    </a:p>
                  </a:txBody>
                  <a:tcPr marL="68575" marR="68575" marT="25725" marB="25725" anchor="ctr"/>
                </a:tc>
              </a:tr>
              <a:tr h="585795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02</a:t>
                      </a:r>
                      <a:endParaRPr sz="1100"/>
                    </a:p>
                  </a:txBody>
                  <a:tcPr marL="68575" marR="68575" marT="25725" marB="2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Wacana Ilmu/Taklimat/Bicara Profesional/Perkongsian Ilmu/Sesi Dialog/Ceramah/Lain-lain</a:t>
                      </a:r>
                      <a:endParaRPr sz="1400">
                        <a:solidFill>
                          <a:srgbClr val="000000"/>
                        </a:solidFill>
                        <a:latin typeface="Arial" panose="020B0604020202020204"/>
                        <a:ea typeface="Arial" panose="020B0604020202020204"/>
                        <a:cs typeface="Arial" panose="020B0604020202020204"/>
                        <a:sym typeface="Arial" panose="020B0604020202020204"/>
                      </a:endParaRPr>
                    </a:p>
                  </a:txBody>
                  <a:tcPr marL="68575" marR="68575" marT="25725" marB="2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15</a:t>
                      </a:r>
                      <a:endParaRPr sz="1100"/>
                    </a:p>
                  </a:txBody>
                  <a:tcPr marL="68575" marR="68575" marT="25725" marB="25725" anchor="ctr"/>
                </a:tc>
              </a:tr>
              <a:tr h="324412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03</a:t>
                      </a:r>
                      <a:endParaRPr sz="1100"/>
                    </a:p>
                  </a:txBody>
                  <a:tcPr marL="68575" marR="68575" marT="25725" marB="2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Bimbingan dan Pementoran (Coaching &amp; Mentoring)</a:t>
                      </a:r>
                      <a:endParaRPr sz="1100"/>
                    </a:p>
                  </a:txBody>
                  <a:tcPr marL="68575" marR="68575" marT="25725" marB="2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10</a:t>
                      </a:r>
                      <a:endParaRPr sz="1100"/>
                    </a:p>
                  </a:txBody>
                  <a:tcPr marL="68575" marR="68575" marT="25725" marB="25725" anchor="ctr"/>
                </a:tc>
              </a:tr>
              <a:tr h="324412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04</a:t>
                      </a:r>
                      <a:endParaRPr sz="1100"/>
                    </a:p>
                  </a:txBody>
                  <a:tcPr marL="68575" marR="68575" marT="25725" marB="2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Peningkatan Akademik</a:t>
                      </a:r>
                      <a:endParaRPr sz="1400" dirty="0">
                        <a:solidFill>
                          <a:srgbClr val="000000"/>
                        </a:solidFill>
                        <a:latin typeface="Arial" panose="020B0604020202020204"/>
                        <a:ea typeface="Arial" panose="020B0604020202020204"/>
                        <a:cs typeface="Arial" panose="020B0604020202020204"/>
                        <a:sym typeface="Arial" panose="020B0604020202020204"/>
                      </a:endParaRPr>
                    </a:p>
                  </a:txBody>
                  <a:tcPr marL="68575" marR="68575" marT="25725" marB="2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20</a:t>
                      </a:r>
                      <a:endParaRPr sz="1100"/>
                    </a:p>
                  </a:txBody>
                  <a:tcPr marL="68575" marR="68575" marT="25725" marB="25725" anchor="ctr"/>
                </a:tc>
              </a:tr>
              <a:tr h="324412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1">
                          <a:solidFill>
                            <a:schemeClr val="lt1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05</a:t>
                      </a:r>
                      <a:endParaRPr sz="1100"/>
                    </a:p>
                  </a:txBody>
                  <a:tcPr marL="68575" marR="68575" marT="25725" marB="25725">
                    <a:solidFill>
                      <a:schemeClr val="dk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1">
                          <a:solidFill>
                            <a:schemeClr val="lt1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Komuniti Pembelajaran Profesional (PLC)</a:t>
                      </a:r>
                      <a:endParaRPr sz="1100"/>
                    </a:p>
                  </a:txBody>
                  <a:tcPr marL="68575" marR="68575" marT="25725" marB="25725">
                    <a:solidFill>
                      <a:schemeClr val="dk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1">
                          <a:solidFill>
                            <a:schemeClr val="lt1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20</a:t>
                      </a:r>
                      <a:endParaRPr sz="1100"/>
                    </a:p>
                  </a:txBody>
                  <a:tcPr marL="68575" marR="68575" marT="25725" marB="25725" anchor="ctr">
                    <a:solidFill>
                      <a:schemeClr val="dk1"/>
                    </a:solidFill>
                  </a:tcPr>
                </a:tc>
              </a:tr>
              <a:tr h="324412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06</a:t>
                      </a:r>
                      <a:endParaRPr sz="1100"/>
                    </a:p>
                  </a:txBody>
                  <a:tcPr marL="68575" marR="68575" marT="25725" marB="2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E-Pembelajaran/Portal eGuru</a:t>
                      </a:r>
                      <a:endParaRPr sz="1400">
                        <a:solidFill>
                          <a:srgbClr val="000000"/>
                        </a:solidFill>
                        <a:latin typeface="Arial" panose="020B0604020202020204"/>
                        <a:ea typeface="Arial" panose="020B0604020202020204"/>
                        <a:cs typeface="Arial" panose="020B0604020202020204"/>
                        <a:sym typeface="Arial" panose="020B0604020202020204"/>
                      </a:endParaRPr>
                    </a:p>
                  </a:txBody>
                  <a:tcPr marL="68575" marR="68575" marT="25725" marB="2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15</a:t>
                      </a:r>
                      <a:endParaRPr sz="1100"/>
                    </a:p>
                  </a:txBody>
                  <a:tcPr marL="68575" marR="68575" marT="25725" marB="25725" anchor="ctr"/>
                </a:tc>
              </a:tr>
              <a:tr h="324412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07</a:t>
                      </a:r>
                      <a:endParaRPr sz="1100"/>
                    </a:p>
                  </a:txBody>
                  <a:tcPr marL="68575" marR="68575" marT="25725" marB="2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Penyelidikan</a:t>
                      </a:r>
                      <a:endParaRPr sz="1400">
                        <a:solidFill>
                          <a:srgbClr val="000000"/>
                        </a:solidFill>
                        <a:latin typeface="Arial" panose="020B0604020202020204"/>
                        <a:ea typeface="Arial" panose="020B0604020202020204"/>
                        <a:cs typeface="Arial" panose="020B0604020202020204"/>
                        <a:sym typeface="Arial" panose="020B0604020202020204"/>
                      </a:endParaRPr>
                    </a:p>
                  </a:txBody>
                  <a:tcPr marL="68575" marR="68575" marT="25725" marB="2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20</a:t>
                      </a:r>
                      <a:endParaRPr sz="1100"/>
                    </a:p>
                  </a:txBody>
                  <a:tcPr marL="68575" marR="68575" marT="25725" marB="25725" anchor="ctr"/>
                </a:tc>
              </a:tr>
              <a:tr h="324412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08</a:t>
                      </a:r>
                      <a:endParaRPr sz="1100"/>
                    </a:p>
                  </a:txBody>
                  <a:tcPr marL="68575" marR="68575" marT="25725" marB="2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Penulisan &amp; Pengkaryaan Kreatif</a:t>
                      </a:r>
                      <a:endParaRPr sz="1400">
                        <a:solidFill>
                          <a:srgbClr val="000000"/>
                        </a:solidFill>
                        <a:latin typeface="Arial" panose="020B0604020202020204"/>
                        <a:ea typeface="Arial" panose="020B0604020202020204"/>
                        <a:cs typeface="Arial" panose="020B0604020202020204"/>
                        <a:sym typeface="Arial" panose="020B0604020202020204"/>
                      </a:endParaRPr>
                    </a:p>
                  </a:txBody>
                  <a:tcPr marL="68575" marR="68575" marT="25725" marB="2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20</a:t>
                      </a:r>
                      <a:endParaRPr sz="1100"/>
                    </a:p>
                  </a:txBody>
                  <a:tcPr marL="68575" marR="68575" marT="25725" marB="25725" anchor="ctr"/>
                </a:tc>
              </a:tr>
              <a:tr h="324412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09</a:t>
                      </a:r>
                      <a:endParaRPr sz="1100"/>
                    </a:p>
                  </a:txBody>
                  <a:tcPr marL="68575" marR="68575" marT="25725" marB="2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Lawatan Penanda Aras (Benchmarking)</a:t>
                      </a:r>
                      <a:endParaRPr sz="1100"/>
                    </a:p>
                  </a:txBody>
                  <a:tcPr marL="68575" marR="68575" marT="25725" marB="2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10</a:t>
                      </a:r>
                      <a:endParaRPr sz="1100"/>
                    </a:p>
                  </a:txBody>
                  <a:tcPr marL="68575" marR="68575" marT="25725" marB="25725" anchor="ctr"/>
                </a:tc>
              </a:tr>
              <a:tr h="324412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10</a:t>
                      </a:r>
                      <a:endParaRPr sz="1100"/>
                    </a:p>
                  </a:txBody>
                  <a:tcPr marL="68575" marR="68575" marT="25725" marB="2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Pembacaan Buku</a:t>
                      </a:r>
                      <a:endParaRPr sz="1400">
                        <a:solidFill>
                          <a:srgbClr val="000000"/>
                        </a:solidFill>
                        <a:latin typeface="Arial" panose="020B0604020202020204"/>
                        <a:ea typeface="Arial" panose="020B0604020202020204"/>
                        <a:cs typeface="Arial" panose="020B0604020202020204"/>
                        <a:sym typeface="Arial" panose="020B0604020202020204"/>
                      </a:endParaRPr>
                    </a:p>
                  </a:txBody>
                  <a:tcPr marL="68575" marR="68575" marT="25725" marB="2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20</a:t>
                      </a:r>
                      <a:endParaRPr sz="1100"/>
                    </a:p>
                  </a:txBody>
                  <a:tcPr marL="68575" marR="68575" marT="25725" marB="25725" anchor="ctr"/>
                </a:tc>
              </a:tr>
              <a:tr h="324412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11</a:t>
                      </a:r>
                      <a:endParaRPr sz="1100"/>
                    </a:p>
                  </a:txBody>
                  <a:tcPr marL="68575" marR="68575" marT="25725" marB="2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Program Sangkutan di luar dan dalam KPM</a:t>
                      </a:r>
                      <a:endParaRPr sz="1100"/>
                    </a:p>
                  </a:txBody>
                  <a:tcPr marL="68575" marR="68575" marT="25725" marB="2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10</a:t>
                      </a:r>
                      <a:endParaRPr sz="1100"/>
                    </a:p>
                  </a:txBody>
                  <a:tcPr marL="68575" marR="68575" marT="25725" marB="25725" anchor="ctr"/>
                </a:tc>
              </a:tr>
              <a:tr h="324412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12</a:t>
                      </a:r>
                      <a:endParaRPr sz="1100"/>
                    </a:p>
                  </a:txBody>
                  <a:tcPr marL="68575" marR="68575" marT="25725" marB="2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Sumbangan lain berbebtuk profesional dan bukan profesional</a:t>
                      </a:r>
                      <a:endParaRPr sz="1400">
                        <a:solidFill>
                          <a:srgbClr val="000000"/>
                        </a:solidFill>
                        <a:latin typeface="Arial" panose="020B0604020202020204"/>
                        <a:ea typeface="Arial" panose="020B0604020202020204"/>
                        <a:cs typeface="Arial" panose="020B0604020202020204"/>
                        <a:sym typeface="Arial" panose="020B0604020202020204"/>
                      </a:endParaRPr>
                    </a:p>
                  </a:txBody>
                  <a:tcPr marL="68575" marR="68575" marT="25725" marB="2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10</a:t>
                      </a:r>
                      <a:endParaRPr sz="1100"/>
                    </a:p>
                  </a:txBody>
                  <a:tcPr marL="68575" marR="68575" marT="25725" marB="25725" anchor="ctr"/>
                </a:tc>
              </a:tr>
              <a:tr h="324412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13</a:t>
                      </a:r>
                      <a:endParaRPr sz="1100"/>
                    </a:p>
                  </a:txBody>
                  <a:tcPr marL="68575" marR="68575" marT="25725" marB="2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Inovasi</a:t>
                      </a:r>
                      <a:endParaRPr sz="1400">
                        <a:solidFill>
                          <a:srgbClr val="000000"/>
                        </a:solidFill>
                        <a:latin typeface="Arial" panose="020B0604020202020204"/>
                        <a:ea typeface="Arial" panose="020B0604020202020204"/>
                        <a:cs typeface="Arial" panose="020B0604020202020204"/>
                        <a:sym typeface="Arial" panose="020B0604020202020204"/>
                      </a:endParaRPr>
                    </a:p>
                  </a:txBody>
                  <a:tcPr marL="68575" marR="68575" marT="25725" marB="2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dirty="0">
                          <a:solidFill>
                            <a:srgbClr val="000000"/>
                          </a:solidFill>
                          <a:latin typeface="Arial" panose="020B0604020202020204"/>
                          <a:ea typeface="Arial" panose="020B0604020202020204"/>
                          <a:cs typeface="Arial" panose="020B0604020202020204"/>
                          <a:sym typeface="Arial" panose="020B0604020202020204"/>
                        </a:rPr>
                        <a:t>20</a:t>
                      </a:r>
                      <a:endParaRPr sz="1100" dirty="0"/>
                    </a:p>
                  </a:txBody>
                  <a:tcPr marL="68575" marR="68575" marT="25725" marB="25725" anchor="ctr"/>
                </a:tc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323528" y="908720"/>
          <a:ext cx="8640960" cy="658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2128"/>
                <a:gridCol w="5976664"/>
                <a:gridCol w="1512168"/>
              </a:tblGrid>
              <a:tr h="658872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chemeClr val="bg1"/>
                          </a:solidFill>
                        </a:rPr>
                        <a:t>KOD PPB</a:t>
                      </a:r>
                      <a:endParaRPr lang="en-MY" sz="1600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/>
                        <a:t>AKTIVITI PPB</a:t>
                      </a:r>
                      <a:endParaRPr lang="en-MY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MAKSIMUM MATA KREDIT</a:t>
                      </a:r>
                      <a:endParaRPr lang="en-MY" sz="16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/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355600" y="701675"/>
            <a:ext cx="8572500" cy="473075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 descr="PRINSIP ASAS PLC&#10;BIG&#10;IDEA&#10;# 1&#10;BIG&#10;IDEA&#10;# 2&#10;BIG&#10;IDEA&#10;# 3&#10;PLC 2014 17&#10; 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6628" y="0"/>
            <a:ext cx="754737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KOMUNITI PEMBELAJARAN PROFESIONAL: MODUS OPERANDIKEMENTERIAN PELAJARANM A L AY S I A            1   Utama Slaid Sebelum Sl...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603"/>
          <a:stretch>
            <a:fillRect/>
          </a:stretch>
        </p:blipFill>
        <p:spPr bwMode="auto">
          <a:xfrm>
            <a:off x="0" y="0"/>
            <a:ext cx="159662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2" descr="PLC 2014 23&#10;Dimensi PLC&#10;66&#10; 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6628" y="0"/>
            <a:ext cx="754737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KOMUNITI PEMBELAJARAN PROFESIONAL: MODUS OPERANDIKEMENTERIAN PELAJARANM A L AY S I A            1   Utama Slaid Sebelum Sl...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603"/>
          <a:stretch>
            <a:fillRect/>
          </a:stretch>
        </p:blipFill>
        <p:spPr bwMode="auto">
          <a:xfrm>
            <a:off x="0" y="0"/>
            <a:ext cx="159662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38" name="Picture 2" descr="STRATEGI PLCSTRATEGI PLC&#10;DE-&#10;PRIVATIZATION&#10;OF PRACTICE&#10;REFLECTIVE&#10;DIALOGUE&#10;COLLECTIVE&#10;FOCUS ON&#10;STUDENT&#10;LEARNING&#10;COLLABORAT...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6628" y="0"/>
            <a:ext cx="754737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KOMUNITI PEMBELAJARAN PROFESIONAL: MODUS OPERANDIKEMENTERIAN PELAJARANM A L AY S I A            1   Utama Slaid Sebelum Sl...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603"/>
          <a:stretch>
            <a:fillRect/>
          </a:stretch>
        </p:blipFill>
        <p:spPr bwMode="auto">
          <a:xfrm>
            <a:off x="0" y="0"/>
            <a:ext cx="159662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2" name="Picture 2" descr="PLC 2014&#10;33&#10;DIALOG REFLEKTIF (REFLECTIVE DIALOGUE)&#10;Strategi PLC Deskripsi&#10;Menggunakan Protokol Perbincangan&#10;(Using Discuss..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6628" y="0"/>
            <a:ext cx="754737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KOMUNITI PEMBELAJARAN PROFESIONAL: MODUS OPERANDIKEMENTERIAN PELAJARANM A L AY S I A            1   Utama Slaid Sebelum Sl...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603"/>
          <a:stretch>
            <a:fillRect/>
          </a:stretch>
        </p:blipFill>
        <p:spPr bwMode="auto">
          <a:xfrm>
            <a:off x="0" y="0"/>
            <a:ext cx="159662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86" name="Picture 2" descr="PLC 2014 34&#10;PERKONGSIAN AMALAN (DE-PRIVATIZATION OF PRACTICE)&#10;Strategi PLC Deskripsi&#10;Jelajah Pembelajaran&#10;(Learning Walks)...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6628" y="0"/>
            <a:ext cx="754737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KOMUNITI PEMBELAJARAN PROFESIONAL: MODUS OPERANDIKEMENTERIAN PELAJARANM A L AY S I A            1   Utama Slaid Sebelum Sl...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603"/>
          <a:stretch>
            <a:fillRect/>
          </a:stretch>
        </p:blipFill>
        <p:spPr bwMode="auto">
          <a:xfrm>
            <a:off x="0" y="0"/>
            <a:ext cx="159662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10" name="Picture 2" descr="PLC 2014 35&#10;FOKUS SECARA KOLEKTIF TERHADAP&#10;PEMBELAJARAN MURID&#10;FOKUS SECARA KOLEKTIF TERHADAP&#10;PEMBELAJARAN MURID&#10;Strategi P...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6628" y="0"/>
            <a:ext cx="754737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KOMUNITI PEMBELAJARAN PROFESIONAL: MODUS OPERANDIKEMENTERIAN PELAJARANM A L AY S I A            1   Utama Slaid Sebelum Sl...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603"/>
          <a:stretch>
            <a:fillRect/>
          </a:stretch>
        </p:blipFill>
        <p:spPr bwMode="auto">
          <a:xfrm>
            <a:off x="0" y="0"/>
            <a:ext cx="159662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jvGThuLEuTfZzzRI1n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bbBrS7sU.tb9v2Kg5z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jvGThuLEuTfZzzRI1ne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94</Words>
  <Application>Microsoft Office PowerPoint</Application>
  <PresentationFormat>On-screen Show (4:3)</PresentationFormat>
  <Paragraphs>205</Paragraphs>
  <Slides>35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8" baseType="lpstr">
      <vt:lpstr>MS PGothic</vt:lpstr>
      <vt:lpstr>宋体</vt:lpstr>
      <vt:lpstr>Aharoni</vt:lpstr>
      <vt:lpstr>Arial</vt:lpstr>
      <vt:lpstr>Arial Black</vt:lpstr>
      <vt:lpstr>Calibri</vt:lpstr>
      <vt:lpstr>Century Gothic</vt:lpstr>
      <vt:lpstr>Corbel</vt:lpstr>
      <vt:lpstr>Symbol</vt:lpstr>
      <vt:lpstr>Times New Roman</vt:lpstr>
      <vt:lpstr>Wingdings</vt:lpstr>
      <vt:lpstr>Wingdings 2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KOMUNITI PEMBELAJARAN PROFESIONAL (PLC)</vt:lpstr>
      <vt:lpstr>CARTA ORGANISASI</vt:lpstr>
      <vt:lpstr>FUNGSI STRUKTUR ORGANISASI</vt:lpstr>
      <vt:lpstr>FUNGSI STRUKTUR ORGANISASI</vt:lpstr>
      <vt:lpstr>TAKWIM PELAKSANAAN PROGRAM </vt:lpstr>
      <vt:lpstr>PowerPoint Presentation</vt:lpstr>
      <vt:lpstr>PERANAN ANDA MEMBUDAYAKAN PLC</vt:lpstr>
      <vt:lpstr>PowerPoint Presentation</vt:lpstr>
      <vt:lpstr>PowerPoint Presentation</vt:lpstr>
      <vt:lpstr>PDCA dalam PROSES PELAKSANAAN PLC</vt:lpstr>
      <vt:lpstr>PowerPoint Presentation</vt:lpstr>
      <vt:lpstr>OBJEKTIF PEMBELAJARAN</vt:lpstr>
      <vt:lpstr>MERANCANG PLC</vt:lpstr>
      <vt:lpstr>TINDAKAN  YANG  PERLU UNTUK MEMBENTUK PLC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OMUNITI PEMBELAJARAN PROFESIONAL (PLC)</dc:title>
  <dc:creator>Win8</dc:creator>
  <cp:lastModifiedBy>User</cp:lastModifiedBy>
  <cp:revision>8</cp:revision>
  <dcterms:created xsi:type="dcterms:W3CDTF">2006-08-16T00:00:00Z</dcterms:created>
  <dcterms:modified xsi:type="dcterms:W3CDTF">2019-08-26T01:24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1033-10.2.0.7587</vt:lpwstr>
  </property>
</Properties>
</file>